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57" r:id="rId3"/>
    <p:sldId id="259" r:id="rId4"/>
    <p:sldId id="295" r:id="rId5"/>
    <p:sldId id="292" r:id="rId6"/>
    <p:sldId id="296" r:id="rId7"/>
    <p:sldId id="293" r:id="rId8"/>
    <p:sldId id="294" r:id="rId9"/>
    <p:sldId id="290" r:id="rId10"/>
    <p:sldId id="260" r:id="rId11"/>
    <p:sldId id="298" r:id="rId12"/>
    <p:sldId id="286" r:id="rId13"/>
    <p:sldId id="302" r:id="rId14"/>
    <p:sldId id="303" r:id="rId15"/>
    <p:sldId id="304" r:id="rId16"/>
    <p:sldId id="299" r:id="rId17"/>
    <p:sldId id="300" r:id="rId18"/>
    <p:sldId id="301" r:id="rId19"/>
    <p:sldId id="272" r:id="rId20"/>
    <p:sldId id="275" r:id="rId21"/>
    <p:sldId id="279" r:id="rId22"/>
    <p:sldId id="258" r:id="rId23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77AE"/>
    <a:srgbClr val="5F6EAD"/>
    <a:srgbClr val="615DAF"/>
    <a:srgbClr val="7258B4"/>
    <a:srgbClr val="4A4DC2"/>
    <a:srgbClr val="333333"/>
    <a:srgbClr val="CC0000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05" autoAdjust="0"/>
    <p:restoredTop sz="96271" autoAdjust="0"/>
  </p:normalViewPr>
  <p:slideViewPr>
    <p:cSldViewPr>
      <p:cViewPr>
        <p:scale>
          <a:sx n="99" d="100"/>
          <a:sy n="99" d="100"/>
        </p:scale>
        <p:origin x="-2016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2952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printerSettings" Target="printerSettings/printerSettings1.bin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3DFBD9-F39B-4A7F-BC1F-FBA5B0380564}" type="datetimeFigureOut">
              <a:rPr lang="zh-CN" altLang="en-US" smtClean="0"/>
              <a:pPr/>
              <a:t>13-4-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6C3614-B509-4117-AADC-8175321FC6D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19559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7496B2-7642-4DF7-96FC-7BE601F2DAE2}" type="datetimeFigureOut">
              <a:rPr lang="zh-CN" altLang="en-US" smtClean="0"/>
              <a:pPr/>
              <a:t>13-4-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B3505A-8C1F-4A19-9841-A50F3C54508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365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Android_首页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347864" y="3886200"/>
            <a:ext cx="4424535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3-4-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xiangsong.fd\Desktop\未标题-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/>
            </a:lvl1pPr>
          </a:lstStyle>
          <a:p>
            <a:fld id="{530820CF-B880-4189-942D-D702A7CBA730}" type="datetimeFigureOut">
              <a:rPr lang="zh-CN" altLang="en-US" smtClean="0"/>
              <a:pPr/>
              <a:t>13-4-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/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Android_尾页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3-4-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Users\xiangsong.fd\Desktop\未标题-1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868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13-4-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microsoft.com/office/2007/relationships/hdphoto" Target="../media/hdphoto1.wdp"/><Relationship Id="rId9" Type="http://schemas.openxmlformats.org/officeDocument/2006/relationships/image" Target="../media/image13.png"/><Relationship Id="rId10" Type="http://schemas.openxmlformats.org/officeDocument/2006/relationships/image" Target="../media/image14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tengine.taobao.org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dm.taobao.com/" TargetMode="External"/><Relationship Id="rId3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hyperlink" Target="http://wdm.taobao.com/" TargetMode="Externa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2771800" y="2852936"/>
            <a:ext cx="5328592" cy="10801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dobe 黑体 Std R" pitchFamily="34" charset="-122"/>
                <a:ea typeface="Adobe 黑体 Std R" pitchFamily="34" charset="-122"/>
                <a:cs typeface="+mj-cs"/>
              </a:rPr>
              <a:t>无线大数据</a:t>
            </a:r>
            <a:endParaRPr kumimoji="0" lang="en-US" altLang="zh-CN" sz="600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dobe 黑体 Std R" pitchFamily="34" charset="-122"/>
              <a:ea typeface="Adobe 黑体 Std R" pitchFamily="34" charset="-122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dirty="0" smtClean="0">
                <a:solidFill>
                  <a:srgbClr val="333333"/>
                </a:solidFill>
                <a:latin typeface="Adobe 黑体 Std R" pitchFamily="34" charset="-122"/>
                <a:ea typeface="Adobe 黑体 Std R" pitchFamily="34" charset="-122"/>
                <a:cs typeface="+mj-cs"/>
              </a:rPr>
              <a:t>——</a:t>
            </a:r>
            <a:r>
              <a:rPr lang="zh-CN" altLang="en-US" sz="2400" dirty="0" smtClean="0">
                <a:solidFill>
                  <a:srgbClr val="333333"/>
                </a:solidFill>
                <a:latin typeface="Adobe 黑体 Std R" pitchFamily="34" charset="-122"/>
                <a:ea typeface="Adobe 黑体 Std R" pitchFamily="34" charset="-122"/>
                <a:cs typeface="+mj-cs"/>
              </a:rPr>
              <a:t>采集与分析</a:t>
            </a:r>
            <a:endParaRPr kumimoji="0" lang="zh-CN" altLang="en-US" sz="240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dobe 黑体 Std R" pitchFamily="34" charset="-122"/>
              <a:ea typeface="Adobe 黑体 Std R" pitchFamily="34" charset="-122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Rectangle 3"/>
          <p:cNvSpPr>
            <a:spLocks noChangeArrowheads="1"/>
          </p:cNvSpPr>
          <p:nvPr/>
        </p:nvSpPr>
        <p:spPr bwMode="gray">
          <a:xfrm>
            <a:off x="1300713" y="1977901"/>
            <a:ext cx="3367088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CECF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 b="1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45" name="Rectangle 4"/>
          <p:cNvSpPr>
            <a:spLocks noChangeArrowheads="1"/>
          </p:cNvSpPr>
          <p:nvPr/>
        </p:nvSpPr>
        <p:spPr bwMode="gray">
          <a:xfrm>
            <a:off x="1300713" y="2771651"/>
            <a:ext cx="3367088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292929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CECF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46" name="Rectangle 5"/>
          <p:cNvSpPr>
            <a:spLocks noChangeArrowheads="1"/>
          </p:cNvSpPr>
          <p:nvPr/>
        </p:nvSpPr>
        <p:spPr bwMode="gray">
          <a:xfrm>
            <a:off x="1300713" y="3571751"/>
            <a:ext cx="3367088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292929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CECFF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47" name="AutoShape 6"/>
          <p:cNvSpPr>
            <a:spLocks noChangeArrowheads="1"/>
          </p:cNvSpPr>
          <p:nvPr/>
        </p:nvSpPr>
        <p:spPr bwMode="gray">
          <a:xfrm rot="308465">
            <a:off x="6882363" y="1974726"/>
            <a:ext cx="1590675" cy="1701800"/>
          </a:xfrm>
          <a:custGeom>
            <a:avLst/>
            <a:gdLst>
              <a:gd name="G0" fmla="+- 61148 0 0"/>
              <a:gd name="G1" fmla="+- -5891861 0 0"/>
              <a:gd name="G2" fmla="+- 61148 0 -5891861"/>
              <a:gd name="G3" fmla="+- 10800 0 0"/>
              <a:gd name="G4" fmla="+- 0 0 61148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7799 0 0"/>
              <a:gd name="G9" fmla="+- 0 0 -5891861"/>
              <a:gd name="G10" fmla="+- 7799 0 2700"/>
              <a:gd name="G11" fmla="cos G10 61148"/>
              <a:gd name="G12" fmla="sin G10 61148"/>
              <a:gd name="G13" fmla="cos 13500 61148"/>
              <a:gd name="G14" fmla="sin 13500 61148"/>
              <a:gd name="G15" fmla="+- G11 10800 0"/>
              <a:gd name="G16" fmla="+- G12 10800 0"/>
              <a:gd name="G17" fmla="+- G13 10800 0"/>
              <a:gd name="G18" fmla="+- G14 10800 0"/>
              <a:gd name="G19" fmla="*/ 7799 1 2"/>
              <a:gd name="G20" fmla="+- G19 5400 0"/>
              <a:gd name="G21" fmla="cos G20 61148"/>
              <a:gd name="G22" fmla="sin G20 61148"/>
              <a:gd name="G23" fmla="+- G21 10800 0"/>
              <a:gd name="G24" fmla="+- G12 G23 G22"/>
              <a:gd name="G25" fmla="+- G22 G23 G11"/>
              <a:gd name="G26" fmla="cos 10800 61148"/>
              <a:gd name="G27" fmla="sin 10800 61148"/>
              <a:gd name="G28" fmla="cos 7799 61148"/>
              <a:gd name="G29" fmla="sin 7799 61148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891861"/>
              <a:gd name="G36" fmla="sin G34 -5891861"/>
              <a:gd name="G37" fmla="+/ -5891861 61148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7799 G39"/>
              <a:gd name="G43" fmla="sin 7799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505 w 21600"/>
              <a:gd name="T5" fmla="*/ 3232 h 21600"/>
              <a:gd name="T6" fmla="*/ 10815 w 21600"/>
              <a:gd name="T7" fmla="*/ 1500 h 21600"/>
              <a:gd name="T8" fmla="*/ 16364 w 21600"/>
              <a:gd name="T9" fmla="*/ 5335 h 21600"/>
              <a:gd name="T10" fmla="*/ 24298 w 21600"/>
              <a:gd name="T11" fmla="*/ 11019 h 21600"/>
              <a:gd name="T12" fmla="*/ 20030 w 21600"/>
              <a:gd name="T13" fmla="*/ 15151 h 21600"/>
              <a:gd name="T14" fmla="*/ 15898 w 21600"/>
              <a:gd name="T15" fmla="*/ 1088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8597" y="10926"/>
                </a:moveTo>
                <a:cubicBezTo>
                  <a:pt x="18598" y="10884"/>
                  <a:pt x="18599" y="10842"/>
                  <a:pt x="18599" y="10800"/>
                </a:cubicBezTo>
                <a:cubicBezTo>
                  <a:pt x="18599" y="6497"/>
                  <a:pt x="15115" y="3008"/>
                  <a:pt x="10813" y="3001"/>
                </a:cubicBezTo>
                <a:lnTo>
                  <a:pt x="10818" y="0"/>
                </a:lnTo>
                <a:cubicBezTo>
                  <a:pt x="16775" y="10"/>
                  <a:pt x="21600" y="4842"/>
                  <a:pt x="21600" y="10800"/>
                </a:cubicBezTo>
                <a:cubicBezTo>
                  <a:pt x="21600" y="10858"/>
                  <a:pt x="21599" y="10917"/>
                  <a:pt x="21598" y="10975"/>
                </a:cubicBezTo>
                <a:lnTo>
                  <a:pt x="24298" y="11019"/>
                </a:lnTo>
                <a:lnTo>
                  <a:pt x="20030" y="15151"/>
                </a:lnTo>
                <a:lnTo>
                  <a:pt x="15898" y="10883"/>
                </a:lnTo>
                <a:lnTo>
                  <a:pt x="18597" y="10926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17347D">
                  <a:alpha val="78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48" name="Oval 7"/>
          <p:cNvSpPr>
            <a:spLocks noChangeArrowheads="1"/>
          </p:cNvSpPr>
          <p:nvPr/>
        </p:nvSpPr>
        <p:spPr bwMode="ltGray">
          <a:xfrm>
            <a:off x="6296576" y="1473076"/>
            <a:ext cx="1319212" cy="1319213"/>
          </a:xfrm>
          <a:prstGeom prst="ellipse">
            <a:avLst/>
          </a:prstGeom>
          <a:gradFill rotWithShape="0">
            <a:gsLst>
              <a:gs pos="0">
                <a:srgbClr val="45AB7D">
                  <a:gamma/>
                  <a:shade val="66275"/>
                  <a:invGamma/>
                </a:srgbClr>
              </a:gs>
              <a:gs pos="50000">
                <a:srgbClr val="45AB7D"/>
              </a:gs>
              <a:gs pos="100000">
                <a:srgbClr val="45AB7D">
                  <a:gamma/>
                  <a:shade val="66275"/>
                  <a:invGamma/>
                </a:srgbClr>
              </a:gs>
            </a:gsLst>
            <a:lin ang="2700000" scaled="1"/>
          </a:gradFill>
          <a:ln w="57150">
            <a:solidFill>
              <a:srgbClr val="EAEAEA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2">
                      <a:alpha val="19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49" name="Oval 8"/>
          <p:cNvSpPr>
            <a:spLocks noChangeArrowheads="1"/>
          </p:cNvSpPr>
          <p:nvPr/>
        </p:nvSpPr>
        <p:spPr bwMode="gray">
          <a:xfrm>
            <a:off x="7553876" y="3286001"/>
            <a:ext cx="1320800" cy="1320800"/>
          </a:xfrm>
          <a:prstGeom prst="ellipse">
            <a:avLst/>
          </a:prstGeom>
          <a:gradFill rotWithShape="0">
            <a:gsLst>
              <a:gs pos="0">
                <a:srgbClr val="969696">
                  <a:gamma/>
                  <a:shade val="36078"/>
                  <a:invGamma/>
                </a:srgbClr>
              </a:gs>
              <a:gs pos="50000">
                <a:srgbClr val="969696"/>
              </a:gs>
              <a:gs pos="100000">
                <a:srgbClr val="969696">
                  <a:gamma/>
                  <a:shade val="36078"/>
                  <a:invGamma/>
                </a:srgbClr>
              </a:gs>
            </a:gsLst>
            <a:lin ang="2700000" scaled="1"/>
          </a:gradFill>
          <a:ln w="57150">
            <a:solidFill>
              <a:srgbClr val="EAEAEA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50" name="AutoShape 9"/>
          <p:cNvSpPr>
            <a:spLocks noChangeArrowheads="1"/>
          </p:cNvSpPr>
          <p:nvPr/>
        </p:nvSpPr>
        <p:spPr bwMode="gray">
          <a:xfrm rot="7527986">
            <a:off x="6208469" y="3396333"/>
            <a:ext cx="1589087" cy="1701800"/>
          </a:xfrm>
          <a:custGeom>
            <a:avLst/>
            <a:gdLst>
              <a:gd name="G0" fmla="+- 61148 0 0"/>
              <a:gd name="G1" fmla="+- -5891861 0 0"/>
              <a:gd name="G2" fmla="+- 61148 0 -5891861"/>
              <a:gd name="G3" fmla="+- 10800 0 0"/>
              <a:gd name="G4" fmla="+- 0 0 61148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7799 0 0"/>
              <a:gd name="G9" fmla="+- 0 0 -5891861"/>
              <a:gd name="G10" fmla="+- 7799 0 2700"/>
              <a:gd name="G11" fmla="cos G10 61148"/>
              <a:gd name="G12" fmla="sin G10 61148"/>
              <a:gd name="G13" fmla="cos 13500 61148"/>
              <a:gd name="G14" fmla="sin 13500 61148"/>
              <a:gd name="G15" fmla="+- G11 10800 0"/>
              <a:gd name="G16" fmla="+- G12 10800 0"/>
              <a:gd name="G17" fmla="+- G13 10800 0"/>
              <a:gd name="G18" fmla="+- G14 10800 0"/>
              <a:gd name="G19" fmla="*/ 7799 1 2"/>
              <a:gd name="G20" fmla="+- G19 5400 0"/>
              <a:gd name="G21" fmla="cos G20 61148"/>
              <a:gd name="G22" fmla="sin G20 61148"/>
              <a:gd name="G23" fmla="+- G21 10800 0"/>
              <a:gd name="G24" fmla="+- G12 G23 G22"/>
              <a:gd name="G25" fmla="+- G22 G23 G11"/>
              <a:gd name="G26" fmla="cos 10800 61148"/>
              <a:gd name="G27" fmla="sin 10800 61148"/>
              <a:gd name="G28" fmla="cos 7799 61148"/>
              <a:gd name="G29" fmla="sin 7799 61148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891861"/>
              <a:gd name="G36" fmla="sin G34 -5891861"/>
              <a:gd name="G37" fmla="+/ -5891861 61148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7799 G39"/>
              <a:gd name="G43" fmla="sin 7799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505 w 21600"/>
              <a:gd name="T5" fmla="*/ 3232 h 21600"/>
              <a:gd name="T6" fmla="*/ 10815 w 21600"/>
              <a:gd name="T7" fmla="*/ 1500 h 21600"/>
              <a:gd name="T8" fmla="*/ 16364 w 21600"/>
              <a:gd name="T9" fmla="*/ 5335 h 21600"/>
              <a:gd name="T10" fmla="*/ 24298 w 21600"/>
              <a:gd name="T11" fmla="*/ 11019 h 21600"/>
              <a:gd name="T12" fmla="*/ 20030 w 21600"/>
              <a:gd name="T13" fmla="*/ 15151 h 21600"/>
              <a:gd name="T14" fmla="*/ 15898 w 21600"/>
              <a:gd name="T15" fmla="*/ 1088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8597" y="10926"/>
                </a:moveTo>
                <a:cubicBezTo>
                  <a:pt x="18598" y="10884"/>
                  <a:pt x="18599" y="10842"/>
                  <a:pt x="18599" y="10800"/>
                </a:cubicBezTo>
                <a:cubicBezTo>
                  <a:pt x="18599" y="6497"/>
                  <a:pt x="15115" y="3008"/>
                  <a:pt x="10813" y="3001"/>
                </a:cubicBezTo>
                <a:lnTo>
                  <a:pt x="10818" y="0"/>
                </a:lnTo>
                <a:cubicBezTo>
                  <a:pt x="16775" y="10"/>
                  <a:pt x="21600" y="4842"/>
                  <a:pt x="21600" y="10800"/>
                </a:cubicBezTo>
                <a:cubicBezTo>
                  <a:pt x="21600" y="10858"/>
                  <a:pt x="21599" y="10917"/>
                  <a:pt x="21598" y="10975"/>
                </a:cubicBezTo>
                <a:lnTo>
                  <a:pt x="24298" y="11019"/>
                </a:lnTo>
                <a:lnTo>
                  <a:pt x="20030" y="15151"/>
                </a:lnTo>
                <a:lnTo>
                  <a:pt x="15898" y="10883"/>
                </a:lnTo>
                <a:lnTo>
                  <a:pt x="18597" y="10926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17347D">
                  <a:alpha val="78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51" name="AutoShape 10"/>
          <p:cNvSpPr>
            <a:spLocks noChangeArrowheads="1"/>
          </p:cNvSpPr>
          <p:nvPr/>
        </p:nvSpPr>
        <p:spPr bwMode="gray">
          <a:xfrm rot="15216000">
            <a:off x="5278988" y="2165226"/>
            <a:ext cx="1589088" cy="1703388"/>
          </a:xfrm>
          <a:custGeom>
            <a:avLst/>
            <a:gdLst>
              <a:gd name="G0" fmla="+- 61148 0 0"/>
              <a:gd name="G1" fmla="+- -5891861 0 0"/>
              <a:gd name="G2" fmla="+- 61148 0 -5891861"/>
              <a:gd name="G3" fmla="+- 10800 0 0"/>
              <a:gd name="G4" fmla="+- 0 0 61148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7799 0 0"/>
              <a:gd name="G9" fmla="+- 0 0 -5891861"/>
              <a:gd name="G10" fmla="+- 7799 0 2700"/>
              <a:gd name="G11" fmla="cos G10 61148"/>
              <a:gd name="G12" fmla="sin G10 61148"/>
              <a:gd name="G13" fmla="cos 13500 61148"/>
              <a:gd name="G14" fmla="sin 13500 61148"/>
              <a:gd name="G15" fmla="+- G11 10800 0"/>
              <a:gd name="G16" fmla="+- G12 10800 0"/>
              <a:gd name="G17" fmla="+- G13 10800 0"/>
              <a:gd name="G18" fmla="+- G14 10800 0"/>
              <a:gd name="G19" fmla="*/ 7799 1 2"/>
              <a:gd name="G20" fmla="+- G19 5400 0"/>
              <a:gd name="G21" fmla="cos G20 61148"/>
              <a:gd name="G22" fmla="sin G20 61148"/>
              <a:gd name="G23" fmla="+- G21 10800 0"/>
              <a:gd name="G24" fmla="+- G12 G23 G22"/>
              <a:gd name="G25" fmla="+- G22 G23 G11"/>
              <a:gd name="G26" fmla="cos 10800 61148"/>
              <a:gd name="G27" fmla="sin 10800 61148"/>
              <a:gd name="G28" fmla="cos 7799 61148"/>
              <a:gd name="G29" fmla="sin 7799 61148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891861"/>
              <a:gd name="G36" fmla="sin G34 -5891861"/>
              <a:gd name="G37" fmla="+/ -5891861 61148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7799 G39"/>
              <a:gd name="G43" fmla="sin 7799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505 w 21600"/>
              <a:gd name="T5" fmla="*/ 3232 h 21600"/>
              <a:gd name="T6" fmla="*/ 10815 w 21600"/>
              <a:gd name="T7" fmla="*/ 1500 h 21600"/>
              <a:gd name="T8" fmla="*/ 16364 w 21600"/>
              <a:gd name="T9" fmla="*/ 5335 h 21600"/>
              <a:gd name="T10" fmla="*/ 24298 w 21600"/>
              <a:gd name="T11" fmla="*/ 11019 h 21600"/>
              <a:gd name="T12" fmla="*/ 20030 w 21600"/>
              <a:gd name="T13" fmla="*/ 15151 h 21600"/>
              <a:gd name="T14" fmla="*/ 15898 w 21600"/>
              <a:gd name="T15" fmla="*/ 1088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8597" y="10926"/>
                </a:moveTo>
                <a:cubicBezTo>
                  <a:pt x="18598" y="10884"/>
                  <a:pt x="18599" y="10842"/>
                  <a:pt x="18599" y="10800"/>
                </a:cubicBezTo>
                <a:cubicBezTo>
                  <a:pt x="18599" y="6497"/>
                  <a:pt x="15115" y="3008"/>
                  <a:pt x="10813" y="3001"/>
                </a:cubicBezTo>
                <a:lnTo>
                  <a:pt x="10818" y="0"/>
                </a:lnTo>
                <a:cubicBezTo>
                  <a:pt x="16775" y="10"/>
                  <a:pt x="21600" y="4842"/>
                  <a:pt x="21600" y="10800"/>
                </a:cubicBezTo>
                <a:cubicBezTo>
                  <a:pt x="21600" y="10858"/>
                  <a:pt x="21599" y="10917"/>
                  <a:pt x="21598" y="10975"/>
                </a:cubicBezTo>
                <a:lnTo>
                  <a:pt x="24298" y="11019"/>
                </a:lnTo>
                <a:lnTo>
                  <a:pt x="20030" y="15151"/>
                </a:lnTo>
                <a:lnTo>
                  <a:pt x="15898" y="10883"/>
                </a:lnTo>
                <a:lnTo>
                  <a:pt x="18597" y="10926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17347D">
                  <a:alpha val="78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52" name="Oval 11"/>
          <p:cNvSpPr>
            <a:spLocks noChangeArrowheads="1"/>
          </p:cNvSpPr>
          <p:nvPr/>
        </p:nvSpPr>
        <p:spPr bwMode="gray">
          <a:xfrm>
            <a:off x="5194851" y="3290764"/>
            <a:ext cx="1320800" cy="1319212"/>
          </a:xfrm>
          <a:prstGeom prst="ellipse">
            <a:avLst/>
          </a:prstGeom>
          <a:gradFill rotWithShape="1">
            <a:gsLst>
              <a:gs pos="0">
                <a:srgbClr val="9999FF"/>
              </a:gs>
              <a:gs pos="100000">
                <a:srgbClr val="9999FF">
                  <a:gamma/>
                  <a:shade val="81961"/>
                  <a:invGamma/>
                </a:srgbClr>
              </a:gs>
            </a:gsLst>
            <a:lin ang="5400000" scaled="1"/>
          </a:gradFill>
          <a:ln w="57150">
            <a:solidFill>
              <a:srgbClr val="EAEAEA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grpSp>
        <p:nvGrpSpPr>
          <p:cNvPr id="253" name="Group 12"/>
          <p:cNvGrpSpPr>
            <a:grpSpLocks/>
          </p:cNvGrpSpPr>
          <p:nvPr/>
        </p:nvGrpSpPr>
        <p:grpSpPr bwMode="auto">
          <a:xfrm rot="10082854">
            <a:off x="6139413" y="2428751"/>
            <a:ext cx="1196975" cy="303213"/>
            <a:chOff x="2598" y="1026"/>
            <a:chExt cx="957" cy="242"/>
          </a:xfrm>
        </p:grpSpPr>
        <p:grpSp>
          <p:nvGrpSpPr>
            <p:cNvPr id="254" name="Group 13"/>
            <p:cNvGrpSpPr>
              <a:grpSpLocks/>
            </p:cNvGrpSpPr>
            <p:nvPr/>
          </p:nvGrpSpPr>
          <p:grpSpPr bwMode="auto">
            <a:xfrm rot="-9970459" flipH="1" flipV="1">
              <a:off x="2591" y="1040"/>
              <a:ext cx="958" cy="234"/>
              <a:chOff x="2528" y="1060"/>
              <a:chExt cx="894" cy="236"/>
            </a:xfrm>
          </p:grpSpPr>
          <p:grpSp>
            <p:nvGrpSpPr>
              <p:cNvPr id="266" name="Group 14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272" name="AutoShape 15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73" name="AutoShape 16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74" name="AutoShape 17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75" name="AutoShape 18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267" name="Group 19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268" name="AutoShape 20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69" name="AutoShape 21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70" name="AutoShape 22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71" name="AutoShape 23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  <p:grpSp>
          <p:nvGrpSpPr>
            <p:cNvPr id="255" name="Group 24"/>
            <p:cNvGrpSpPr>
              <a:grpSpLocks/>
            </p:cNvGrpSpPr>
            <p:nvPr/>
          </p:nvGrpSpPr>
          <p:grpSpPr bwMode="auto">
            <a:xfrm rot="-9970459" flipH="1" flipV="1">
              <a:off x="2679" y="1065"/>
              <a:ext cx="784" cy="191"/>
              <a:chOff x="2528" y="1060"/>
              <a:chExt cx="894" cy="236"/>
            </a:xfrm>
          </p:grpSpPr>
          <p:grpSp>
            <p:nvGrpSpPr>
              <p:cNvPr id="256" name="Group 25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262" name="AutoShape 26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63" name="AutoShape 27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64" name="AutoShape 28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65" name="AutoShape 29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257" name="Group 30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258" name="AutoShape 31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59" name="AutoShape 32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60" name="AutoShape 33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61" name="AutoShape 34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</p:grpSp>
      <p:grpSp>
        <p:nvGrpSpPr>
          <p:cNvPr id="276" name="Group 35"/>
          <p:cNvGrpSpPr>
            <a:grpSpLocks/>
          </p:cNvGrpSpPr>
          <p:nvPr/>
        </p:nvGrpSpPr>
        <p:grpSpPr bwMode="auto">
          <a:xfrm rot="10082854">
            <a:off x="5044038" y="4249614"/>
            <a:ext cx="1198563" cy="303212"/>
            <a:chOff x="2598" y="1026"/>
            <a:chExt cx="957" cy="242"/>
          </a:xfrm>
        </p:grpSpPr>
        <p:grpSp>
          <p:nvGrpSpPr>
            <p:cNvPr id="277" name="Group 36"/>
            <p:cNvGrpSpPr>
              <a:grpSpLocks/>
            </p:cNvGrpSpPr>
            <p:nvPr/>
          </p:nvGrpSpPr>
          <p:grpSpPr bwMode="auto">
            <a:xfrm rot="-9970459" flipH="1" flipV="1">
              <a:off x="2591" y="1040"/>
              <a:ext cx="958" cy="234"/>
              <a:chOff x="2528" y="1060"/>
              <a:chExt cx="894" cy="236"/>
            </a:xfrm>
          </p:grpSpPr>
          <p:grpSp>
            <p:nvGrpSpPr>
              <p:cNvPr id="289" name="Group 37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295" name="AutoShape 38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96" name="AutoShape 39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97" name="AutoShape 40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98" name="AutoShape 41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290" name="Group 42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291" name="AutoShape 43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92" name="AutoShape 44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93" name="AutoShape 45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94" name="AutoShape 46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  <p:grpSp>
          <p:nvGrpSpPr>
            <p:cNvPr id="278" name="Group 47"/>
            <p:cNvGrpSpPr>
              <a:grpSpLocks/>
            </p:cNvGrpSpPr>
            <p:nvPr/>
          </p:nvGrpSpPr>
          <p:grpSpPr bwMode="auto">
            <a:xfrm rot="-9970459" flipH="1" flipV="1">
              <a:off x="2679" y="1065"/>
              <a:ext cx="784" cy="191"/>
              <a:chOff x="2528" y="1060"/>
              <a:chExt cx="894" cy="236"/>
            </a:xfrm>
          </p:grpSpPr>
          <p:grpSp>
            <p:nvGrpSpPr>
              <p:cNvPr id="279" name="Group 48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285" name="AutoShape 49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86" name="AutoShape 50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87" name="AutoShape 51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88" name="AutoShape 52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280" name="Group 53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281" name="AutoShape 54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82" name="AutoShape 55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83" name="AutoShape 56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284" name="AutoShape 57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</p:grpSp>
      <p:grpSp>
        <p:nvGrpSpPr>
          <p:cNvPr id="299" name="Group 58"/>
          <p:cNvGrpSpPr>
            <a:grpSpLocks/>
          </p:cNvGrpSpPr>
          <p:nvPr/>
        </p:nvGrpSpPr>
        <p:grpSpPr bwMode="auto">
          <a:xfrm rot="10082854">
            <a:off x="7418938" y="4248026"/>
            <a:ext cx="1196975" cy="303213"/>
            <a:chOff x="2598" y="1026"/>
            <a:chExt cx="957" cy="242"/>
          </a:xfrm>
        </p:grpSpPr>
        <p:grpSp>
          <p:nvGrpSpPr>
            <p:cNvPr id="300" name="Group 59"/>
            <p:cNvGrpSpPr>
              <a:grpSpLocks/>
            </p:cNvGrpSpPr>
            <p:nvPr/>
          </p:nvGrpSpPr>
          <p:grpSpPr bwMode="auto">
            <a:xfrm rot="-9970459" flipH="1" flipV="1">
              <a:off x="2591" y="1040"/>
              <a:ext cx="958" cy="234"/>
              <a:chOff x="2528" y="1060"/>
              <a:chExt cx="894" cy="236"/>
            </a:xfrm>
          </p:grpSpPr>
          <p:grpSp>
            <p:nvGrpSpPr>
              <p:cNvPr id="312" name="Group 60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318" name="AutoShape 61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19" name="AutoShape 62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20" name="AutoShape 63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21" name="AutoShape 64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313" name="Group 65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314" name="AutoShape 66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15" name="AutoShape 67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16" name="AutoShape 68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17" name="AutoShape 69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  <p:grpSp>
          <p:nvGrpSpPr>
            <p:cNvPr id="301" name="Group 70"/>
            <p:cNvGrpSpPr>
              <a:grpSpLocks/>
            </p:cNvGrpSpPr>
            <p:nvPr/>
          </p:nvGrpSpPr>
          <p:grpSpPr bwMode="auto">
            <a:xfrm rot="-9970459" flipH="1" flipV="1">
              <a:off x="2679" y="1065"/>
              <a:ext cx="784" cy="191"/>
              <a:chOff x="2528" y="1060"/>
              <a:chExt cx="894" cy="236"/>
            </a:xfrm>
          </p:grpSpPr>
          <p:grpSp>
            <p:nvGrpSpPr>
              <p:cNvPr id="302" name="Group 71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308" name="AutoShape 72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09" name="AutoShape 73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10" name="AutoShape 74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11" name="AutoShape 75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303" name="Group 76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304" name="AutoShape 77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05" name="AutoShape 78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06" name="AutoShape 79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07" name="AutoShape 80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</p:grpSp>
      <p:grpSp>
        <p:nvGrpSpPr>
          <p:cNvPr id="322" name="Group 81"/>
          <p:cNvGrpSpPr>
            <a:grpSpLocks/>
          </p:cNvGrpSpPr>
          <p:nvPr/>
        </p:nvGrpSpPr>
        <p:grpSpPr bwMode="auto">
          <a:xfrm>
            <a:off x="6687101" y="1593726"/>
            <a:ext cx="1196975" cy="303213"/>
            <a:chOff x="2598" y="1026"/>
            <a:chExt cx="957" cy="242"/>
          </a:xfrm>
        </p:grpSpPr>
        <p:grpSp>
          <p:nvGrpSpPr>
            <p:cNvPr id="323" name="Group 82"/>
            <p:cNvGrpSpPr>
              <a:grpSpLocks/>
            </p:cNvGrpSpPr>
            <p:nvPr/>
          </p:nvGrpSpPr>
          <p:grpSpPr bwMode="auto">
            <a:xfrm rot="-9970459" flipH="1" flipV="1">
              <a:off x="2591" y="1040"/>
              <a:ext cx="958" cy="234"/>
              <a:chOff x="2528" y="1060"/>
              <a:chExt cx="894" cy="236"/>
            </a:xfrm>
          </p:grpSpPr>
          <p:grpSp>
            <p:nvGrpSpPr>
              <p:cNvPr id="335" name="Group 83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341" name="AutoShape 84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42" name="AutoShape 85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43" name="AutoShape 86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44" name="AutoShape 87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336" name="Group 88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337" name="AutoShape 89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38" name="AutoShape 90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39" name="AutoShape 91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40" name="AutoShape 92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  <p:grpSp>
          <p:nvGrpSpPr>
            <p:cNvPr id="324" name="Group 93"/>
            <p:cNvGrpSpPr>
              <a:grpSpLocks/>
            </p:cNvGrpSpPr>
            <p:nvPr/>
          </p:nvGrpSpPr>
          <p:grpSpPr bwMode="auto">
            <a:xfrm rot="-9970459" flipH="1" flipV="1">
              <a:off x="2679" y="1065"/>
              <a:ext cx="784" cy="191"/>
              <a:chOff x="2528" y="1060"/>
              <a:chExt cx="894" cy="236"/>
            </a:xfrm>
          </p:grpSpPr>
          <p:grpSp>
            <p:nvGrpSpPr>
              <p:cNvPr id="325" name="Group 94"/>
              <p:cNvGrpSpPr>
                <a:grpSpLocks/>
              </p:cNvGrpSpPr>
              <p:nvPr/>
            </p:nvGrpSpPr>
            <p:grpSpPr bwMode="auto">
              <a:xfrm>
                <a:off x="2528" y="1060"/>
                <a:ext cx="742" cy="186"/>
                <a:chOff x="1565" y="2568"/>
                <a:chExt cx="1118" cy="279"/>
              </a:xfrm>
            </p:grpSpPr>
            <p:sp>
              <p:nvSpPr>
                <p:cNvPr id="331" name="AutoShape 95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32" name="AutoShape 96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33" name="AutoShape 97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34" name="AutoShape 98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  <p:grpSp>
            <p:nvGrpSpPr>
              <p:cNvPr id="326" name="Group 99"/>
              <p:cNvGrpSpPr>
                <a:grpSpLocks/>
              </p:cNvGrpSpPr>
              <p:nvPr/>
            </p:nvGrpSpPr>
            <p:grpSpPr bwMode="auto">
              <a:xfrm rot="1353540">
                <a:off x="2680" y="1110"/>
                <a:ext cx="742" cy="186"/>
                <a:chOff x="1565" y="2568"/>
                <a:chExt cx="1118" cy="279"/>
              </a:xfrm>
            </p:grpSpPr>
            <p:sp>
              <p:nvSpPr>
                <p:cNvPr id="327" name="AutoShape 100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28" name="AutoShape 101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29" name="AutoShape 102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  <p:sp>
              <p:nvSpPr>
                <p:cNvPr id="330" name="AutoShape 103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mtClean="0">
                    <a:solidFill>
                      <a:srgbClr val="17347D"/>
                    </a:solidFill>
                    <a:latin typeface="微软雅黑"/>
                    <a:ea typeface="微软雅黑"/>
                    <a:cs typeface="微软雅黑"/>
                  </a:endParaRPr>
                </a:p>
              </p:txBody>
            </p:sp>
          </p:grpSp>
        </p:grpSp>
      </p:grpSp>
      <p:grpSp>
        <p:nvGrpSpPr>
          <p:cNvPr id="345" name="Group 127"/>
          <p:cNvGrpSpPr>
            <a:grpSpLocks/>
          </p:cNvGrpSpPr>
          <p:nvPr/>
        </p:nvGrpSpPr>
        <p:grpSpPr bwMode="auto">
          <a:xfrm rot="-232145">
            <a:off x="5563151" y="3401889"/>
            <a:ext cx="1235075" cy="331787"/>
            <a:chOff x="1824" y="2448"/>
            <a:chExt cx="987" cy="266"/>
          </a:xfrm>
        </p:grpSpPr>
        <p:grpSp>
          <p:nvGrpSpPr>
            <p:cNvPr id="346" name="Group 128"/>
            <p:cNvGrpSpPr>
              <a:grpSpLocks/>
            </p:cNvGrpSpPr>
            <p:nvPr/>
          </p:nvGrpSpPr>
          <p:grpSpPr bwMode="auto">
            <a:xfrm rot="513316">
              <a:off x="1815" y="2461"/>
              <a:ext cx="958" cy="234"/>
              <a:chOff x="2591" y="1040"/>
              <a:chExt cx="958" cy="234"/>
            </a:xfrm>
          </p:grpSpPr>
          <p:grpSp>
            <p:nvGrpSpPr>
              <p:cNvPr id="370" name="Group 129"/>
              <p:cNvGrpSpPr>
                <a:grpSpLocks/>
              </p:cNvGrpSpPr>
              <p:nvPr/>
            </p:nvGrpSpPr>
            <p:grpSpPr bwMode="auto">
              <a:xfrm rot="-9970459" flipH="1" flipV="1">
                <a:off x="2591" y="1040"/>
                <a:ext cx="958" cy="234"/>
                <a:chOff x="2528" y="1060"/>
                <a:chExt cx="894" cy="236"/>
              </a:xfrm>
            </p:grpSpPr>
            <p:grpSp>
              <p:nvGrpSpPr>
                <p:cNvPr id="382" name="Group 130"/>
                <p:cNvGrpSpPr>
                  <a:grpSpLocks/>
                </p:cNvGrpSpPr>
                <p:nvPr/>
              </p:nvGrpSpPr>
              <p:grpSpPr bwMode="auto">
                <a:xfrm>
                  <a:off x="2528" y="1060"/>
                  <a:ext cx="742" cy="186"/>
                  <a:chOff x="1565" y="2568"/>
                  <a:chExt cx="1118" cy="279"/>
                </a:xfrm>
              </p:grpSpPr>
              <p:sp>
                <p:nvSpPr>
                  <p:cNvPr id="388" name="AutoShape 131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89" name="AutoShape 132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90" name="AutoShape 133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91" name="AutoShape 134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  <p:grpSp>
              <p:nvGrpSpPr>
                <p:cNvPr id="383" name="Group 135"/>
                <p:cNvGrpSpPr>
                  <a:grpSpLocks/>
                </p:cNvGrpSpPr>
                <p:nvPr/>
              </p:nvGrpSpPr>
              <p:grpSpPr bwMode="auto">
                <a:xfrm rot="1353540">
                  <a:off x="2680" y="1110"/>
                  <a:ext cx="742" cy="186"/>
                  <a:chOff x="1565" y="2568"/>
                  <a:chExt cx="1118" cy="279"/>
                </a:xfrm>
              </p:grpSpPr>
              <p:sp>
                <p:nvSpPr>
                  <p:cNvPr id="384" name="AutoShape 136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85" name="AutoShape 137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86" name="AutoShape 138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87" name="AutoShape 139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</p:grpSp>
          <p:grpSp>
            <p:nvGrpSpPr>
              <p:cNvPr id="371" name="Group 140"/>
              <p:cNvGrpSpPr>
                <a:grpSpLocks/>
              </p:cNvGrpSpPr>
              <p:nvPr/>
            </p:nvGrpSpPr>
            <p:grpSpPr bwMode="auto">
              <a:xfrm rot="-9970459" flipH="1" flipV="1">
                <a:off x="2679" y="1065"/>
                <a:ext cx="784" cy="191"/>
                <a:chOff x="2528" y="1060"/>
                <a:chExt cx="894" cy="236"/>
              </a:xfrm>
            </p:grpSpPr>
            <p:grpSp>
              <p:nvGrpSpPr>
                <p:cNvPr id="372" name="Group 141"/>
                <p:cNvGrpSpPr>
                  <a:grpSpLocks/>
                </p:cNvGrpSpPr>
                <p:nvPr/>
              </p:nvGrpSpPr>
              <p:grpSpPr bwMode="auto">
                <a:xfrm>
                  <a:off x="2528" y="1060"/>
                  <a:ext cx="742" cy="186"/>
                  <a:chOff x="1565" y="2568"/>
                  <a:chExt cx="1118" cy="279"/>
                </a:xfrm>
              </p:grpSpPr>
              <p:sp>
                <p:nvSpPr>
                  <p:cNvPr id="378" name="AutoShape 142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79" name="AutoShape 143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80" name="AutoShape 144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81" name="AutoShape 145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  <p:grpSp>
              <p:nvGrpSpPr>
                <p:cNvPr id="373" name="Group 146"/>
                <p:cNvGrpSpPr>
                  <a:grpSpLocks/>
                </p:cNvGrpSpPr>
                <p:nvPr/>
              </p:nvGrpSpPr>
              <p:grpSpPr bwMode="auto">
                <a:xfrm rot="1353540">
                  <a:off x="2680" y="1110"/>
                  <a:ext cx="742" cy="186"/>
                  <a:chOff x="1565" y="2568"/>
                  <a:chExt cx="1118" cy="279"/>
                </a:xfrm>
              </p:grpSpPr>
              <p:sp>
                <p:nvSpPr>
                  <p:cNvPr id="374" name="AutoShape 147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75" name="AutoShape 148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76" name="AutoShape 149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77" name="AutoShape 150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</p:grpSp>
        </p:grpSp>
        <p:grpSp>
          <p:nvGrpSpPr>
            <p:cNvPr id="347" name="Group 151"/>
            <p:cNvGrpSpPr>
              <a:grpSpLocks/>
            </p:cNvGrpSpPr>
            <p:nvPr/>
          </p:nvGrpSpPr>
          <p:grpSpPr bwMode="auto">
            <a:xfrm rot="513316">
              <a:off x="1845" y="2485"/>
              <a:ext cx="958" cy="234"/>
              <a:chOff x="2591" y="1040"/>
              <a:chExt cx="958" cy="234"/>
            </a:xfrm>
          </p:grpSpPr>
          <p:grpSp>
            <p:nvGrpSpPr>
              <p:cNvPr id="348" name="Group 152"/>
              <p:cNvGrpSpPr>
                <a:grpSpLocks/>
              </p:cNvGrpSpPr>
              <p:nvPr/>
            </p:nvGrpSpPr>
            <p:grpSpPr bwMode="auto">
              <a:xfrm rot="-9970459" flipH="1" flipV="1">
                <a:off x="2591" y="1040"/>
                <a:ext cx="958" cy="234"/>
                <a:chOff x="2528" y="1060"/>
                <a:chExt cx="894" cy="236"/>
              </a:xfrm>
            </p:grpSpPr>
            <p:grpSp>
              <p:nvGrpSpPr>
                <p:cNvPr id="360" name="Group 153"/>
                <p:cNvGrpSpPr>
                  <a:grpSpLocks/>
                </p:cNvGrpSpPr>
                <p:nvPr/>
              </p:nvGrpSpPr>
              <p:grpSpPr bwMode="auto">
                <a:xfrm>
                  <a:off x="2528" y="1060"/>
                  <a:ext cx="742" cy="186"/>
                  <a:chOff x="1565" y="2568"/>
                  <a:chExt cx="1118" cy="279"/>
                </a:xfrm>
              </p:grpSpPr>
              <p:sp>
                <p:nvSpPr>
                  <p:cNvPr id="366" name="AutoShape 154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67" name="AutoShape 155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68" name="AutoShape 156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69" name="AutoShape 157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  <p:grpSp>
              <p:nvGrpSpPr>
                <p:cNvPr id="361" name="Group 158"/>
                <p:cNvGrpSpPr>
                  <a:grpSpLocks/>
                </p:cNvGrpSpPr>
                <p:nvPr/>
              </p:nvGrpSpPr>
              <p:grpSpPr bwMode="auto">
                <a:xfrm rot="1353540">
                  <a:off x="2680" y="1110"/>
                  <a:ext cx="742" cy="186"/>
                  <a:chOff x="1565" y="2568"/>
                  <a:chExt cx="1118" cy="279"/>
                </a:xfrm>
              </p:grpSpPr>
              <p:sp>
                <p:nvSpPr>
                  <p:cNvPr id="362" name="AutoShape 159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63" name="AutoShape 160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64" name="AutoShape 161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65" name="AutoShape 162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</p:grpSp>
          <p:grpSp>
            <p:nvGrpSpPr>
              <p:cNvPr id="349" name="Group 163"/>
              <p:cNvGrpSpPr>
                <a:grpSpLocks/>
              </p:cNvGrpSpPr>
              <p:nvPr/>
            </p:nvGrpSpPr>
            <p:grpSpPr bwMode="auto">
              <a:xfrm rot="-9970459" flipH="1" flipV="1">
                <a:off x="2679" y="1065"/>
                <a:ext cx="784" cy="191"/>
                <a:chOff x="2528" y="1060"/>
                <a:chExt cx="894" cy="236"/>
              </a:xfrm>
            </p:grpSpPr>
            <p:grpSp>
              <p:nvGrpSpPr>
                <p:cNvPr id="350" name="Group 164"/>
                <p:cNvGrpSpPr>
                  <a:grpSpLocks/>
                </p:cNvGrpSpPr>
                <p:nvPr/>
              </p:nvGrpSpPr>
              <p:grpSpPr bwMode="auto">
                <a:xfrm>
                  <a:off x="2528" y="1060"/>
                  <a:ext cx="742" cy="186"/>
                  <a:chOff x="1565" y="2568"/>
                  <a:chExt cx="1118" cy="279"/>
                </a:xfrm>
              </p:grpSpPr>
              <p:sp>
                <p:nvSpPr>
                  <p:cNvPr id="356" name="AutoShape 165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57" name="AutoShape 166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58" name="AutoShape 167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59" name="AutoShape 168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  <p:grpSp>
              <p:nvGrpSpPr>
                <p:cNvPr id="351" name="Group 169"/>
                <p:cNvGrpSpPr>
                  <a:grpSpLocks/>
                </p:cNvGrpSpPr>
                <p:nvPr/>
              </p:nvGrpSpPr>
              <p:grpSpPr bwMode="auto">
                <a:xfrm rot="1353540">
                  <a:off x="2680" y="1110"/>
                  <a:ext cx="742" cy="186"/>
                  <a:chOff x="1565" y="2568"/>
                  <a:chExt cx="1118" cy="279"/>
                </a:xfrm>
              </p:grpSpPr>
              <p:sp>
                <p:nvSpPr>
                  <p:cNvPr id="352" name="AutoShape 170"/>
                  <p:cNvSpPr>
                    <a:spLocks noChangeArrowheads="1"/>
                  </p:cNvSpPr>
                  <p:nvPr/>
                </p:nvSpPr>
                <p:spPr bwMode="gray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53" name="AutoShape 171"/>
                  <p:cNvSpPr>
                    <a:spLocks noChangeArrowheads="1"/>
                  </p:cNvSpPr>
                  <p:nvPr/>
                </p:nvSpPr>
                <p:spPr bwMode="gray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54" name="AutoShape 172"/>
                  <p:cNvSpPr>
                    <a:spLocks noChangeArrowheads="1"/>
                  </p:cNvSpPr>
                  <p:nvPr/>
                </p:nvSpPr>
                <p:spPr bwMode="gray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  <p:sp>
                <p:nvSpPr>
                  <p:cNvPr id="355" name="AutoShape 173"/>
                  <p:cNvSpPr>
                    <a:spLocks noChangeArrowheads="1"/>
                  </p:cNvSpPr>
                  <p:nvPr/>
                </p:nvSpPr>
                <p:spPr bwMode="gray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smtClean="0">
                      <a:solidFill>
                        <a:srgbClr val="17347D"/>
                      </a:solidFill>
                      <a:latin typeface="微软雅黑"/>
                      <a:ea typeface="微软雅黑"/>
                      <a:cs typeface="微软雅黑"/>
                    </a:endParaRPr>
                  </a:p>
                </p:txBody>
              </p:sp>
            </p:grpSp>
          </p:grpSp>
        </p:grpSp>
      </p:grpSp>
      <p:sp>
        <p:nvSpPr>
          <p:cNvPr id="392" name="Rectangle 174"/>
          <p:cNvSpPr>
            <a:spLocks noChangeArrowheads="1"/>
          </p:cNvSpPr>
          <p:nvPr/>
        </p:nvSpPr>
        <p:spPr bwMode="ltGray">
          <a:xfrm>
            <a:off x="364088" y="1977901"/>
            <a:ext cx="1169988" cy="766763"/>
          </a:xfrm>
          <a:prstGeom prst="rect">
            <a:avLst/>
          </a:prstGeom>
          <a:solidFill>
            <a:srgbClr val="45AB7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292929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393" name="Rectangle 175"/>
          <p:cNvSpPr>
            <a:spLocks noChangeArrowheads="1"/>
          </p:cNvSpPr>
          <p:nvPr/>
        </p:nvSpPr>
        <p:spPr bwMode="gray">
          <a:xfrm>
            <a:off x="364088" y="2771651"/>
            <a:ext cx="1169988" cy="766763"/>
          </a:xfrm>
          <a:prstGeom prst="rect">
            <a:avLst/>
          </a:prstGeom>
          <a:solidFill>
            <a:srgbClr val="99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292929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394" name="Rectangle 176"/>
          <p:cNvSpPr>
            <a:spLocks noChangeArrowheads="1"/>
          </p:cNvSpPr>
          <p:nvPr/>
        </p:nvSpPr>
        <p:spPr bwMode="gray">
          <a:xfrm>
            <a:off x="364088" y="3571751"/>
            <a:ext cx="1169988" cy="766763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292929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17347D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395" name="Rectangle 177"/>
          <p:cNvSpPr>
            <a:spLocks noChangeArrowheads="1"/>
          </p:cNvSpPr>
          <p:nvPr/>
        </p:nvSpPr>
        <p:spPr bwMode="white">
          <a:xfrm>
            <a:off x="509707" y="2158876"/>
            <a:ext cx="6463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隐私</a:t>
            </a:r>
            <a:endParaRPr lang="en-US" altLang="zh-CN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96" name="Rectangle 178"/>
          <p:cNvSpPr>
            <a:spLocks noChangeArrowheads="1"/>
          </p:cNvSpPr>
          <p:nvPr/>
        </p:nvSpPr>
        <p:spPr bwMode="white">
          <a:xfrm>
            <a:off x="503296" y="2928934"/>
            <a:ext cx="6463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孤立</a:t>
            </a:r>
            <a:endParaRPr lang="en-US" altLang="zh-CN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97" name="Rectangle 179"/>
          <p:cNvSpPr>
            <a:spLocks noChangeArrowheads="1"/>
          </p:cNvSpPr>
          <p:nvPr/>
        </p:nvSpPr>
        <p:spPr bwMode="white">
          <a:xfrm>
            <a:off x="500034" y="3778126"/>
            <a:ext cx="649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流量</a:t>
            </a:r>
            <a:endParaRPr lang="en-US" altLang="zh-CN" b="1" dirty="0" smtClean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398" name="Rectangle 180"/>
          <p:cNvSpPr>
            <a:spLocks noChangeArrowheads="1"/>
          </p:cNvSpPr>
          <p:nvPr/>
        </p:nvSpPr>
        <p:spPr bwMode="auto">
          <a:xfrm>
            <a:off x="1613451" y="2185119"/>
            <a:ext cx="305117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b="1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涉及隐私的信息，需要得到用户认可</a:t>
            </a:r>
            <a:endParaRPr lang="en-US" altLang="zh-CN" sz="1400" b="1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99" name="Rectangle 181"/>
          <p:cNvSpPr>
            <a:spLocks noChangeArrowheads="1"/>
          </p:cNvSpPr>
          <p:nvPr/>
        </p:nvSpPr>
        <p:spPr bwMode="auto">
          <a:xfrm>
            <a:off x="1613451" y="2996952"/>
            <a:ext cx="305117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b="1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硬件指纹，自定义</a:t>
            </a:r>
            <a:r>
              <a:rPr lang="en-US" altLang="zh-CN" sz="1400" b="1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ID</a:t>
            </a:r>
            <a:r>
              <a:rPr lang="zh-CN" altLang="en-US" sz="1400" b="1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，</a:t>
            </a:r>
            <a:r>
              <a:rPr lang="en-US" altLang="zh-CN" sz="1400" b="1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Cookie</a:t>
            </a:r>
          </a:p>
        </p:txBody>
      </p:sp>
      <p:sp>
        <p:nvSpPr>
          <p:cNvPr id="400" name="Rectangle 182"/>
          <p:cNvSpPr>
            <a:spLocks noChangeArrowheads="1"/>
          </p:cNvSpPr>
          <p:nvPr/>
        </p:nvSpPr>
        <p:spPr bwMode="auto">
          <a:xfrm>
            <a:off x="1613451" y="3789040"/>
            <a:ext cx="305117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b="1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最少请求，分级压缩，主动埋点</a:t>
            </a:r>
            <a:endParaRPr lang="en-US" altLang="zh-CN" sz="1400" b="1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01" name="Rectangle 183"/>
          <p:cNvSpPr>
            <a:spLocks noChangeArrowheads="1"/>
          </p:cNvSpPr>
          <p:nvPr/>
        </p:nvSpPr>
        <p:spPr bwMode="gray">
          <a:xfrm>
            <a:off x="6621050" y="1935039"/>
            <a:ext cx="6463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隐私</a:t>
            </a:r>
            <a:endParaRPr lang="en-US" altLang="zh-CN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02" name="Rectangle 184"/>
          <p:cNvSpPr>
            <a:spLocks noChangeArrowheads="1"/>
          </p:cNvSpPr>
          <p:nvPr/>
        </p:nvSpPr>
        <p:spPr bwMode="gray">
          <a:xfrm>
            <a:off x="5509799" y="3763839"/>
            <a:ext cx="6463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孤立</a:t>
            </a:r>
            <a:endParaRPr lang="en-US" altLang="zh-CN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03" name="Rectangle 185"/>
          <p:cNvSpPr>
            <a:spLocks noChangeArrowheads="1"/>
          </p:cNvSpPr>
          <p:nvPr/>
        </p:nvSpPr>
        <p:spPr bwMode="gray">
          <a:xfrm>
            <a:off x="7905399" y="3744789"/>
            <a:ext cx="64633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流量</a:t>
            </a:r>
            <a:endParaRPr lang="en-US" altLang="zh-CN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05" name="Rectangle 187"/>
          <p:cNvSpPr>
            <a:spLocks noChangeArrowheads="1"/>
          </p:cNvSpPr>
          <p:nvPr/>
        </p:nvSpPr>
        <p:spPr bwMode="auto">
          <a:xfrm>
            <a:off x="551215" y="1268760"/>
            <a:ext cx="36687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2000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无线数据痛点</a:t>
            </a:r>
            <a:endParaRPr lang="en-US" altLang="zh-CN" sz="2000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5523178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5"/>
          <p:cNvSpPr/>
          <p:nvPr>
            <p:custDataLst>
              <p:tags r:id="rId1"/>
            </p:custDataLst>
          </p:nvPr>
        </p:nvSpPr>
        <p:spPr bwMode="auto">
          <a:xfrm>
            <a:off x="1500166" y="2012828"/>
            <a:ext cx="1480862" cy="213055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headEnd type="none" w="med" len="med"/>
            <a:tailEnd type="none" w="med" len="med"/>
          </a:ln>
          <a:effectLst>
            <a:reflection blurRad="6350" stA="50000" endA="300" endPos="55000" dir="5400000" sy="-100000" algn="bl" rotWithShape="0"/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6" tIns="1028794" rIns="68586" bIns="3429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  <a:cs typeface="Segoe UI" pitchFamily="34" charset="0"/>
              </a:rPr>
              <a:t>准确</a:t>
            </a:r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itchFamily="34" charset="-122"/>
              <a:ea typeface="微软雅黑" pitchFamily="34" charset="-122"/>
              <a:cs typeface="Segoe UI" pitchFamily="34" charset="0"/>
            </a:endParaRPr>
          </a:p>
        </p:txBody>
      </p:sp>
      <p:sp>
        <p:nvSpPr>
          <p:cNvPr id="164" name="Rectangle 44"/>
          <p:cNvSpPr/>
          <p:nvPr>
            <p:custDataLst>
              <p:tags r:id="rId2"/>
            </p:custDataLst>
          </p:nvPr>
        </p:nvSpPr>
        <p:spPr bwMode="auto">
          <a:xfrm>
            <a:off x="3123763" y="1997733"/>
            <a:ext cx="1480862" cy="213055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headEnd type="none" w="med" len="med"/>
            <a:tailEnd type="none" w="med" len="med"/>
          </a:ln>
          <a:effectLst>
            <a:reflection blurRad="6350" stA="50000" endA="300" endPos="55000" dir="5400000" sy="-100000" algn="bl" rotWithShape="0"/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6" tIns="1028794" rIns="68586" bIns="3429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  <a:cs typeface="Segoe UI" pitchFamily="34" charset="0"/>
              </a:rPr>
              <a:t>统一</a:t>
            </a:r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itchFamily="34" charset="-122"/>
              <a:ea typeface="微软雅黑" pitchFamily="34" charset="-122"/>
              <a:cs typeface="Segoe UI" pitchFamily="34" charset="0"/>
            </a:endParaRPr>
          </a:p>
        </p:txBody>
      </p:sp>
      <p:sp>
        <p:nvSpPr>
          <p:cNvPr id="165" name="Rectangle 52"/>
          <p:cNvSpPr/>
          <p:nvPr>
            <p:custDataLst>
              <p:tags r:id="rId3"/>
            </p:custDataLst>
          </p:nvPr>
        </p:nvSpPr>
        <p:spPr bwMode="auto">
          <a:xfrm>
            <a:off x="4805829" y="2009780"/>
            <a:ext cx="1480862" cy="213055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headEnd type="none" w="med" len="med"/>
            <a:tailEnd type="none" w="med" len="med"/>
          </a:ln>
          <a:effectLst>
            <a:reflection blurRad="6350" stA="50000" endA="300" endPos="55000" dir="5400000" sy="-100000" algn="bl" rotWithShape="0"/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6" tIns="1028794" rIns="68586" bIns="3429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  <a:cs typeface="Segoe UI" pitchFamily="34" charset="0"/>
              </a:rPr>
              <a:t>稳定</a:t>
            </a:r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itchFamily="34" charset="-122"/>
              <a:ea typeface="微软雅黑" pitchFamily="34" charset="-122"/>
              <a:cs typeface="Segoe UI" pitchFamily="34" charset="0"/>
            </a:endParaRPr>
          </a:p>
        </p:txBody>
      </p:sp>
      <p:pic>
        <p:nvPicPr>
          <p:cNvPr id="166" name="Picture 2" descr="\\MAGNUM\Projects\Microsoft\Cloud Power FY12\Design\Icons\PNGs\Server_2.png"/>
          <p:cNvPicPr>
            <a:picLocks noChangeAspect="1" noChangeArrowheads="1"/>
          </p:cNvPicPr>
          <p:nvPr/>
        </p:nvPicPr>
        <p:blipFill>
          <a:blip r:embed="rId6" cstate="print">
            <a:lum bright="100000"/>
          </a:blip>
          <a:srcRect/>
          <a:stretch>
            <a:fillRect/>
          </a:stretch>
        </p:blipFill>
        <p:spPr bwMode="auto">
          <a:xfrm>
            <a:off x="1806469" y="2474336"/>
            <a:ext cx="908777" cy="90854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</p:pic>
      <p:pic>
        <p:nvPicPr>
          <p:cNvPr id="167" name="Picture 7" descr="\\MAGNUM\Projects\Microsoft\Cloud Power FY12\Design\Icons\PNGs\Meterin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338792" y="2343821"/>
            <a:ext cx="1085461" cy="108517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</p:pic>
      <p:pic>
        <p:nvPicPr>
          <p:cNvPr id="169" name="Picture 7" descr="C:\Users\Justin\Desktop\_Work_in_Progress\_MS\1407\cloud 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691" y="2543180"/>
            <a:ext cx="868259" cy="74916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extLst/>
        </p:spPr>
      </p:pic>
      <p:sp>
        <p:nvSpPr>
          <p:cNvPr id="170" name="Rectangle 52"/>
          <p:cNvSpPr/>
          <p:nvPr>
            <p:custDataLst>
              <p:tags r:id="rId4"/>
            </p:custDataLst>
          </p:nvPr>
        </p:nvSpPr>
        <p:spPr bwMode="auto">
          <a:xfrm>
            <a:off x="6515291" y="2000240"/>
            <a:ext cx="1480862" cy="213055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headEnd type="none" w="med" len="med"/>
            <a:tailEnd type="none" w="med" len="med"/>
          </a:ln>
          <a:effectLst>
            <a:reflection blurRad="6350" stA="50000" endA="300" endPos="55000" dir="5400000" sy="-100000" algn="bl" rotWithShape="0"/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6" tIns="1028794" rIns="68586" bIns="3429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  <a:cs typeface="Segoe UI" pitchFamily="34" charset="0"/>
              </a:rPr>
              <a:t>实时</a:t>
            </a:r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微软雅黑" pitchFamily="34" charset="-122"/>
              <a:ea typeface="微软雅黑" pitchFamily="34" charset="-122"/>
              <a:cs typeface="Segoe UI" pitchFamily="34" charset="0"/>
            </a:endParaRPr>
          </a:p>
        </p:txBody>
      </p:sp>
      <p:sp>
        <p:nvSpPr>
          <p:cNvPr id="173" name="Rectangle 187"/>
          <p:cNvSpPr>
            <a:spLocks noChangeArrowheads="1"/>
          </p:cNvSpPr>
          <p:nvPr/>
        </p:nvSpPr>
        <p:spPr bwMode="auto">
          <a:xfrm>
            <a:off x="3643306" y="1257288"/>
            <a:ext cx="200026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无线数据目标</a:t>
            </a:r>
            <a:endParaRPr lang="en-US" altLang="zh-CN" sz="2000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174" name="Picture 2" descr="\\MAGNUM\Projects\Microsoft\Cloud Power FY12\Design\ICONS_PNG\Tower.png"/>
          <p:cNvPicPr>
            <a:picLocks noChangeAspect="1" noChangeArrowheads="1"/>
          </p:cNvPicPr>
          <p:nvPr/>
        </p:nvPicPr>
        <p:blipFill>
          <a:blip r:embed="rId10" cstate="print">
            <a:lum bright="100000" contrast="100000"/>
          </a:blip>
          <a:stretch>
            <a:fillRect/>
          </a:stretch>
        </p:blipFill>
        <p:spPr bwMode="auto">
          <a:xfrm>
            <a:off x="6744836" y="2387397"/>
            <a:ext cx="1041874" cy="104160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523178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4"/>
          <p:cNvSpPr>
            <a:spLocks noChangeArrowheads="1"/>
          </p:cNvSpPr>
          <p:nvPr/>
        </p:nvSpPr>
        <p:spPr bwMode="black">
          <a:xfrm>
            <a:off x="4225957" y="1465039"/>
            <a:ext cx="3810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zh-CN" b="1" kern="0" dirty="0">
                <a:solidFill>
                  <a:srgbClr val="4EA7EA"/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b="1" kern="0" dirty="0" smtClean="0">
                <a:solidFill>
                  <a:srgbClr val="4EA7EA"/>
                </a:solidFill>
                <a:latin typeface="微软雅黑"/>
                <a:ea typeface="微软雅黑"/>
                <a:cs typeface="微软雅黑"/>
              </a:rPr>
              <a:t>数据采集</a:t>
            </a:r>
            <a:endParaRPr kumimoji="0" lang="en-US" altLang="zh-CN" sz="1800" b="1" i="0" u="none" strike="noStrike" kern="0" cap="none" spc="0" normalizeH="0" baseline="0" noProof="0" dirty="0" smtClean="0">
              <a:ln>
                <a:noFill/>
              </a:ln>
              <a:solidFill>
                <a:srgbClr val="4EA7EA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0" name="Text Box 5"/>
          <p:cNvSpPr txBox="1">
            <a:spLocks noChangeArrowheads="1"/>
          </p:cNvSpPr>
          <p:nvPr/>
        </p:nvSpPr>
        <p:spPr bwMode="invGray">
          <a:xfrm>
            <a:off x="4370419" y="1825079"/>
            <a:ext cx="4702175" cy="523220"/>
          </a:xfrm>
          <a:prstGeom prst="rect">
            <a:avLst/>
          </a:prstGeom>
          <a:solidFill>
            <a:srgbClr val="C0C0C0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客户端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SDK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400" kern="0" dirty="0" err="1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Wap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/H5 </a:t>
            </a:r>
            <a:r>
              <a:rPr lang="en-US" altLang="zh-CN" sz="1400" kern="0" dirty="0" err="1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js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 + Web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服务器模块</a:t>
            </a:r>
            <a:endParaRPr lang="en-US" altLang="zh-CN" sz="1400" kern="0" dirty="0" smtClean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black">
          <a:xfrm>
            <a:off x="4225957" y="2428868"/>
            <a:ext cx="3810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4EA7EA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b="1" kern="0" dirty="0" smtClean="0">
                <a:solidFill>
                  <a:srgbClr val="4EA7EA"/>
                </a:solidFill>
                <a:latin typeface="微软雅黑"/>
                <a:ea typeface="微软雅黑"/>
                <a:cs typeface="微软雅黑"/>
              </a:rPr>
              <a:t>接收服务</a:t>
            </a:r>
            <a:endParaRPr kumimoji="0" lang="en-US" altLang="zh-CN" sz="1800" b="1" i="0" u="none" strike="noStrike" kern="0" cap="none" spc="0" normalizeH="0" baseline="0" noProof="0" dirty="0" smtClean="0">
              <a:ln>
                <a:noFill/>
              </a:ln>
              <a:solidFill>
                <a:srgbClr val="4EA7EA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invGray">
          <a:xfrm>
            <a:off x="4370419" y="2770324"/>
            <a:ext cx="4702175" cy="523220"/>
          </a:xfrm>
          <a:prstGeom prst="rect">
            <a:avLst/>
          </a:prstGeom>
          <a:solidFill>
            <a:srgbClr val="C0C0C0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高并发服务接口（</a:t>
            </a:r>
            <a:r>
              <a:rPr kumimoji="0" lang="en-US" altLang="zh-CN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Tengine</a:t>
            </a:r>
            <a:r>
              <a:rPr kumimoji="0" lang="en-US" altLang="zh-CN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 + </a:t>
            </a:r>
            <a:r>
              <a:rPr kumimoji="0" lang="en-US" altLang="zh-CN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ngx_lua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）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  <a:p>
            <a:pPr marL="342900" indent="-342900">
              <a:buFont typeface="+mj-lt"/>
              <a:buAutoNum type="arabicPeriod"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实时海量日志消息中间件（</a:t>
            </a:r>
            <a:r>
              <a:rPr kumimoji="0" lang="en-US" altLang="zh-CN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TimeTunnel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）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black">
          <a:xfrm>
            <a:off x="4225957" y="3429000"/>
            <a:ext cx="38100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4EA7EA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b="1" kern="0" dirty="0" smtClean="0">
                <a:solidFill>
                  <a:srgbClr val="4EA7EA"/>
                </a:solidFill>
                <a:latin typeface="微软雅黑"/>
                <a:ea typeface="微软雅黑"/>
                <a:cs typeface="微软雅黑"/>
              </a:rPr>
              <a:t>大数据开发</a:t>
            </a:r>
            <a:endParaRPr kumimoji="0" lang="en-US" altLang="zh-CN" sz="1800" b="1" i="0" u="none" strike="noStrike" kern="0" cap="none" spc="0" normalizeH="0" baseline="0" noProof="0" dirty="0" smtClean="0">
              <a:ln>
                <a:noFill/>
              </a:ln>
              <a:solidFill>
                <a:srgbClr val="4EA7EA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invGray">
          <a:xfrm>
            <a:off x="4370419" y="3795712"/>
            <a:ext cx="4702175" cy="523220"/>
          </a:xfrm>
          <a:prstGeom prst="rect">
            <a:avLst/>
          </a:prstGeom>
          <a:solidFill>
            <a:srgbClr val="C0C0C0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marL="342900" lvl="0" indent="-342900">
              <a:buFont typeface="+mj-lt"/>
              <a:buAutoNum type="arabicPeriod"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超过</a:t>
            </a:r>
            <a:r>
              <a:rPr kumimoji="0" lang="en-US" altLang="zh-CN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4000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台的大数据集群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（</a:t>
            </a:r>
            <a:r>
              <a:rPr lang="en-US" altLang="zh-CN" sz="1400" kern="0" dirty="0" err="1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Hadoop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）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altLang="zh-CN" sz="1400" kern="0" dirty="0" err="1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MapReduce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 vs. 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实时流计算（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Storm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）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black">
          <a:xfrm>
            <a:off x="4254482" y="4357694"/>
            <a:ext cx="3810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4EA7EA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b="1" kern="0" dirty="0" smtClean="0">
                <a:solidFill>
                  <a:srgbClr val="4EA7EA"/>
                </a:solidFill>
                <a:latin typeface="微软雅黑"/>
                <a:ea typeface="微软雅黑"/>
                <a:cs typeface="微软雅黑"/>
              </a:rPr>
              <a:t>可视化展现</a:t>
            </a:r>
            <a:endParaRPr kumimoji="0" lang="en-US" altLang="zh-CN" sz="1800" b="1" i="0" u="none" strike="noStrike" kern="0" cap="none" spc="0" normalizeH="0" baseline="0" noProof="0" dirty="0" smtClean="0">
              <a:ln>
                <a:noFill/>
              </a:ln>
              <a:solidFill>
                <a:srgbClr val="4EA7EA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sp>
        <p:nvSpPr>
          <p:cNvPr id="26" name="Text Box 11"/>
          <p:cNvSpPr txBox="1">
            <a:spLocks noChangeArrowheads="1"/>
          </p:cNvSpPr>
          <p:nvPr/>
        </p:nvSpPr>
        <p:spPr bwMode="invGray">
          <a:xfrm>
            <a:off x="4370419" y="4714884"/>
            <a:ext cx="4702175" cy="738664"/>
          </a:xfrm>
          <a:prstGeom prst="rect">
            <a:avLst/>
          </a:prstGeom>
          <a:solidFill>
            <a:srgbClr val="C0C0C0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marL="342900" lvl="0" indent="-342900">
              <a:buFont typeface="+mj-lt"/>
              <a:buAutoNum type="arabicPeriod"/>
            </a:pPr>
            <a:r>
              <a:rPr lang="en-US" altLang="zh-CN" sz="1400" kern="0" dirty="0" err="1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js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可视化框架（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raphael.js, datav.js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，</a:t>
            </a:r>
            <a:r>
              <a:rPr lang="en-US" altLang="zh-CN" sz="1400" kern="0" dirty="0" err="1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highcharts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）</a:t>
            </a:r>
            <a:endParaRPr lang="en-US" altLang="zh-CN" sz="1400" kern="0" dirty="0" smtClean="0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  <a:p>
            <a:pPr marL="342900" lvl="0" indent="-342900">
              <a:buFont typeface="+mj-lt"/>
              <a:buAutoNum type="arabicPeriod"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海量数据存储（</a:t>
            </a:r>
            <a:r>
              <a:rPr kumimoji="0" lang="en-US" altLang="zh-CN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mysql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，</a:t>
            </a:r>
            <a:r>
              <a:rPr kumimoji="0" lang="en-US" altLang="zh-CN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hbase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</a:rPr>
              <a:t>）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zh-CN" altLang="en-US" sz="1400" kern="0" noProof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数据挖据</a:t>
            </a:r>
            <a:r>
              <a:rPr lang="en-US" altLang="zh-CN" sz="1400" kern="0" noProof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lang="zh-CN" altLang="en-US" sz="1400" kern="0" noProof="0" dirty="0" smtClean="0">
                <a:solidFill>
                  <a:srgbClr val="000000"/>
                </a:solidFill>
                <a:latin typeface="微软雅黑"/>
                <a:ea typeface="微软雅黑"/>
                <a:cs typeface="微软雅黑"/>
              </a:rPr>
              <a:t>机器学习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/>
              <a:ea typeface="微软雅黑"/>
              <a:cs typeface="微软雅黑"/>
            </a:endParaRPr>
          </a:p>
        </p:txBody>
      </p:sp>
      <p:grpSp>
        <p:nvGrpSpPr>
          <p:cNvPr id="27" name="Group 12"/>
          <p:cNvGrpSpPr>
            <a:grpSpLocks/>
          </p:cNvGrpSpPr>
          <p:nvPr/>
        </p:nvGrpSpPr>
        <p:grpSpPr bwMode="auto">
          <a:xfrm>
            <a:off x="359626" y="1405288"/>
            <a:ext cx="3681280" cy="4183952"/>
            <a:chOff x="199" y="1121"/>
            <a:chExt cx="2179" cy="2271"/>
          </a:xfrm>
        </p:grpSpPr>
        <p:sp>
          <p:nvSpPr>
            <p:cNvPr id="28" name="AutoShape 13"/>
            <p:cNvSpPr>
              <a:spLocks noChangeArrowheads="1"/>
            </p:cNvSpPr>
            <p:nvPr/>
          </p:nvSpPr>
          <p:spPr bwMode="gray">
            <a:xfrm rot="279351">
              <a:off x="222" y="1274"/>
              <a:ext cx="2118" cy="2118"/>
            </a:xfrm>
            <a:custGeom>
              <a:avLst/>
              <a:gdLst>
                <a:gd name="T0" fmla="*/ 2 w 21600"/>
                <a:gd name="T1" fmla="*/ 0 h 21600"/>
                <a:gd name="T2" fmla="*/ 1 w 21600"/>
                <a:gd name="T3" fmla="*/ 0 h 21600"/>
                <a:gd name="T4" fmla="*/ 2 w 21600"/>
                <a:gd name="T5" fmla="*/ 1 h 21600"/>
                <a:gd name="T6" fmla="*/ 2 w 21600"/>
                <a:gd name="T7" fmla="*/ 1 h 21600"/>
                <a:gd name="T8" fmla="*/ 2 w 21600"/>
                <a:gd name="T9" fmla="*/ 1 h 21600"/>
                <a:gd name="T10" fmla="*/ 1 w 21600"/>
                <a:gd name="T11" fmla="*/ 1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1 w 21600"/>
                <a:gd name="T19" fmla="*/ 3161 h 21600"/>
                <a:gd name="T20" fmla="*/ 18439 w 21600"/>
                <a:gd name="T21" fmla="*/ 18439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094" y="10228"/>
                  </a:moveTo>
                  <a:cubicBezTo>
                    <a:pt x="17884" y="7551"/>
                    <a:pt x="16225" y="5204"/>
                    <a:pt x="13771" y="4113"/>
                  </a:cubicBezTo>
                  <a:lnTo>
                    <a:pt x="15186" y="930"/>
                  </a:lnTo>
                  <a:cubicBezTo>
                    <a:pt x="18808" y="2540"/>
                    <a:pt x="21257" y="6004"/>
                    <a:pt x="21566" y="9955"/>
                  </a:cubicBezTo>
                  <a:lnTo>
                    <a:pt x="24258" y="9744"/>
                  </a:lnTo>
                  <a:lnTo>
                    <a:pt x="20179" y="14520"/>
                  </a:lnTo>
                  <a:lnTo>
                    <a:pt x="15402" y="10439"/>
                  </a:lnTo>
                  <a:lnTo>
                    <a:pt x="18094" y="10228"/>
                  </a:lnTo>
                  <a:close/>
                </a:path>
              </a:pathLst>
            </a:custGeom>
            <a:solidFill>
              <a:srgbClr val="9999FF"/>
            </a:solidFill>
            <a:ln w="9525">
              <a:round/>
              <a:headEnd/>
              <a:tailEnd/>
            </a:ln>
            <a:scene3d>
              <a:camera prst="legacyPerspectiveBottom">
                <a:rot lat="20699993" lon="19499993" rev="0"/>
              </a:camera>
              <a:lightRig rig="legacyHarsh1" dir="t"/>
            </a:scene3d>
            <a:sp3d extrusionH="227000" prstMaterial="legacyPlastic">
              <a:bevelT w="13500" h="13500" prst="angle"/>
              <a:bevelB w="13500" h="13500" prst="angle"/>
              <a:extrusionClr>
                <a:srgbClr val="9999FF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AutoShape 14"/>
            <p:cNvSpPr>
              <a:spLocks noChangeArrowheads="1"/>
            </p:cNvSpPr>
            <p:nvPr/>
          </p:nvSpPr>
          <p:spPr bwMode="gray">
            <a:xfrm rot="15973147">
              <a:off x="199" y="1222"/>
              <a:ext cx="2118" cy="2118"/>
            </a:xfrm>
            <a:custGeom>
              <a:avLst/>
              <a:gdLst>
                <a:gd name="T0" fmla="*/ 2 w 21600"/>
                <a:gd name="T1" fmla="*/ 1 h 21600"/>
                <a:gd name="T2" fmla="*/ 2 w 21600"/>
                <a:gd name="T3" fmla="*/ 0 h 21600"/>
                <a:gd name="T4" fmla="*/ 2 w 21600"/>
                <a:gd name="T5" fmla="*/ 1 h 21600"/>
                <a:gd name="T6" fmla="*/ 2 w 21600"/>
                <a:gd name="T7" fmla="*/ 1 h 21600"/>
                <a:gd name="T8" fmla="*/ 2 w 21600"/>
                <a:gd name="T9" fmla="*/ 2 h 21600"/>
                <a:gd name="T10" fmla="*/ 1 w 21600"/>
                <a:gd name="T11" fmla="*/ 1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1 w 21600"/>
                <a:gd name="T19" fmla="*/ 3161 h 21600"/>
                <a:gd name="T20" fmla="*/ 18439 w 21600"/>
                <a:gd name="T21" fmla="*/ 18439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7928" y="11944"/>
                  </a:moveTo>
                  <a:cubicBezTo>
                    <a:pt x="17989" y="11566"/>
                    <a:pt x="18020" y="11183"/>
                    <a:pt x="18020" y="10800"/>
                  </a:cubicBezTo>
                  <a:cubicBezTo>
                    <a:pt x="18020" y="8737"/>
                    <a:pt x="17138" y="6774"/>
                    <a:pt x="15597" y="5404"/>
                  </a:cubicBezTo>
                  <a:lnTo>
                    <a:pt x="17975" y="2728"/>
                  </a:lnTo>
                  <a:cubicBezTo>
                    <a:pt x="20281" y="4778"/>
                    <a:pt x="21600" y="7715"/>
                    <a:pt x="21600" y="10800"/>
                  </a:cubicBezTo>
                  <a:cubicBezTo>
                    <a:pt x="21600" y="11373"/>
                    <a:pt x="21554" y="11946"/>
                    <a:pt x="21463" y="12512"/>
                  </a:cubicBezTo>
                  <a:lnTo>
                    <a:pt x="24129" y="12940"/>
                  </a:lnTo>
                  <a:lnTo>
                    <a:pt x="18983" y="16661"/>
                  </a:lnTo>
                  <a:lnTo>
                    <a:pt x="15262" y="11516"/>
                  </a:lnTo>
                  <a:lnTo>
                    <a:pt x="17928" y="11944"/>
                  </a:lnTo>
                  <a:close/>
                </a:path>
              </a:pathLst>
            </a:custGeom>
            <a:solidFill>
              <a:srgbClr val="93C052"/>
            </a:solidFill>
            <a:ln w="9525">
              <a:round/>
              <a:headEnd/>
              <a:tailEnd/>
            </a:ln>
            <a:scene3d>
              <a:camera prst="legacyPerspectiveBottom">
                <a:rot lat="20699993" lon="19499993" rev="0"/>
              </a:camera>
              <a:lightRig rig="legacyHarsh1" dir="t"/>
            </a:scene3d>
            <a:sp3d extrusionH="227000" prstMaterial="legacyPlastic">
              <a:bevelT w="13500" h="13500" prst="angle"/>
              <a:bevelB w="13500" h="13500" prst="angle"/>
              <a:extrusionClr>
                <a:srgbClr val="93C052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AutoShape 15"/>
            <p:cNvSpPr>
              <a:spLocks noChangeArrowheads="1"/>
            </p:cNvSpPr>
            <p:nvPr/>
          </p:nvSpPr>
          <p:spPr bwMode="gray">
            <a:xfrm rot="10800000">
              <a:off x="260" y="1121"/>
              <a:ext cx="2118" cy="2118"/>
            </a:xfrm>
            <a:custGeom>
              <a:avLst/>
              <a:gdLst>
                <a:gd name="T0" fmla="*/ 2 w 21600"/>
                <a:gd name="T1" fmla="*/ 0 h 21600"/>
                <a:gd name="T2" fmla="*/ 1 w 21600"/>
                <a:gd name="T3" fmla="*/ 0 h 21600"/>
                <a:gd name="T4" fmla="*/ 2 w 21600"/>
                <a:gd name="T5" fmla="*/ 1 h 21600"/>
                <a:gd name="T6" fmla="*/ 2 w 21600"/>
                <a:gd name="T7" fmla="*/ 1 h 21600"/>
                <a:gd name="T8" fmla="*/ 2 w 21600"/>
                <a:gd name="T9" fmla="*/ 1 h 21600"/>
                <a:gd name="T10" fmla="*/ 1 w 21600"/>
                <a:gd name="T11" fmla="*/ 1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1 w 21600"/>
                <a:gd name="T19" fmla="*/ 3161 h 21600"/>
                <a:gd name="T20" fmla="*/ 18439 w 21600"/>
                <a:gd name="T21" fmla="*/ 18439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7937" y="11142"/>
                  </a:moveTo>
                  <a:cubicBezTo>
                    <a:pt x="17943" y="11028"/>
                    <a:pt x="17946" y="10914"/>
                    <a:pt x="17946" y="10800"/>
                  </a:cubicBezTo>
                  <a:cubicBezTo>
                    <a:pt x="17946" y="8337"/>
                    <a:pt x="16678" y="6048"/>
                    <a:pt x="14591" y="4742"/>
                  </a:cubicBezTo>
                  <a:lnTo>
                    <a:pt x="16529" y="1645"/>
                  </a:lnTo>
                  <a:cubicBezTo>
                    <a:pt x="19684" y="3619"/>
                    <a:pt x="21600" y="7078"/>
                    <a:pt x="21600" y="10800"/>
                  </a:cubicBezTo>
                  <a:cubicBezTo>
                    <a:pt x="21600" y="10972"/>
                    <a:pt x="21595" y="11145"/>
                    <a:pt x="21587" y="11318"/>
                  </a:cubicBezTo>
                  <a:lnTo>
                    <a:pt x="24284" y="11447"/>
                  </a:lnTo>
                  <a:lnTo>
                    <a:pt x="19545" y="15752"/>
                  </a:lnTo>
                  <a:lnTo>
                    <a:pt x="15240" y="11013"/>
                  </a:lnTo>
                  <a:lnTo>
                    <a:pt x="17937" y="11142"/>
                  </a:lnTo>
                  <a:close/>
                </a:path>
              </a:pathLst>
            </a:custGeom>
            <a:solidFill>
              <a:srgbClr val="4EA7EA"/>
            </a:solidFill>
            <a:ln w="9525">
              <a:round/>
              <a:headEnd/>
              <a:tailEnd/>
            </a:ln>
            <a:scene3d>
              <a:camera prst="legacyPerspectiveBottom">
                <a:rot lat="20699993" lon="19499993" rev="0"/>
              </a:camera>
              <a:lightRig rig="legacyHarsh1" dir="t"/>
            </a:scene3d>
            <a:sp3d extrusionH="227000" prstMaterial="legacyPlastic">
              <a:bevelT w="13500" h="13500" prst="angle"/>
              <a:bevelB w="13500" h="13500" prst="angle"/>
              <a:extrusionClr>
                <a:srgbClr val="4EA7EA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AutoShape 16"/>
            <p:cNvSpPr>
              <a:spLocks noChangeArrowheads="1"/>
            </p:cNvSpPr>
            <p:nvPr/>
          </p:nvSpPr>
          <p:spPr bwMode="gray">
            <a:xfrm rot="5400000">
              <a:off x="217" y="1160"/>
              <a:ext cx="2118" cy="2118"/>
            </a:xfrm>
            <a:custGeom>
              <a:avLst/>
              <a:gdLst>
                <a:gd name="T0" fmla="*/ 2 w 21600"/>
                <a:gd name="T1" fmla="*/ 0 h 21600"/>
                <a:gd name="T2" fmla="*/ 1 w 21600"/>
                <a:gd name="T3" fmla="*/ 0 h 21600"/>
                <a:gd name="T4" fmla="*/ 2 w 21600"/>
                <a:gd name="T5" fmla="*/ 1 h 21600"/>
                <a:gd name="T6" fmla="*/ 2 w 21600"/>
                <a:gd name="T7" fmla="*/ 1 h 21600"/>
                <a:gd name="T8" fmla="*/ 2 w 21600"/>
                <a:gd name="T9" fmla="*/ 1 h 21600"/>
                <a:gd name="T10" fmla="*/ 1 w 21600"/>
                <a:gd name="T11" fmla="*/ 1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1 w 21600"/>
                <a:gd name="T19" fmla="*/ 3161 h 21600"/>
                <a:gd name="T20" fmla="*/ 18439 w 21600"/>
                <a:gd name="T21" fmla="*/ 18439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7912" y="10646"/>
                  </a:moveTo>
                  <a:cubicBezTo>
                    <a:pt x="17854" y="7955"/>
                    <a:pt x="16282" y="5527"/>
                    <a:pt x="13851" y="4373"/>
                  </a:cubicBezTo>
                  <a:lnTo>
                    <a:pt x="15432" y="1043"/>
                  </a:lnTo>
                  <a:cubicBezTo>
                    <a:pt x="19123" y="2796"/>
                    <a:pt x="21509" y="6481"/>
                    <a:pt x="21597" y="10566"/>
                  </a:cubicBezTo>
                  <a:lnTo>
                    <a:pt x="24296" y="10507"/>
                  </a:lnTo>
                  <a:lnTo>
                    <a:pt x="19852" y="15148"/>
                  </a:lnTo>
                  <a:lnTo>
                    <a:pt x="15212" y="10704"/>
                  </a:lnTo>
                  <a:lnTo>
                    <a:pt x="17912" y="10646"/>
                  </a:lnTo>
                  <a:close/>
                </a:path>
              </a:pathLst>
            </a:custGeom>
            <a:solidFill>
              <a:srgbClr val="855ADA"/>
            </a:solidFill>
            <a:ln w="9525">
              <a:round/>
              <a:headEnd/>
              <a:tailEnd/>
            </a:ln>
            <a:scene3d>
              <a:camera prst="legacyPerspectiveBottom">
                <a:rot lat="20699993" lon="19499993" rev="0"/>
              </a:camera>
              <a:lightRig rig="legacyHarsh1" dir="t"/>
            </a:scene3d>
            <a:sp3d extrusionH="227000" prstMaterial="legacyPlastic">
              <a:bevelT w="13500" h="13500" prst="angle"/>
              <a:bevelB w="13500" h="13500" prst="angle"/>
              <a:extrusionClr>
                <a:srgbClr val="855ADA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" name="文本框 31"/>
          <p:cNvSpPr txBox="1"/>
          <p:nvPr/>
        </p:nvSpPr>
        <p:spPr>
          <a:xfrm>
            <a:off x="1153424" y="1835532"/>
            <a:ext cx="1240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数据采集</a:t>
            </a:r>
            <a:endParaRPr kumimoji="1" lang="zh-CN" altLang="en-US" dirty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1893454" y="4702742"/>
            <a:ext cx="137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大数据处理</a:t>
            </a:r>
            <a:endParaRPr kumimoji="1" lang="zh-CN" altLang="en-US" dirty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574539" y="3000372"/>
            <a:ext cx="461665" cy="1285314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可视化展现</a:t>
            </a:r>
            <a:endParaRPr kumimoji="1" lang="zh-CN" altLang="en-US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3360615" y="2780928"/>
            <a:ext cx="461665" cy="136245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接收服务</a:t>
            </a:r>
            <a:endParaRPr kumimoji="1" lang="zh-CN" altLang="en-US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6" name="Rectangle 187"/>
          <p:cNvSpPr>
            <a:spLocks noChangeArrowheads="1"/>
          </p:cNvSpPr>
          <p:nvPr/>
        </p:nvSpPr>
        <p:spPr bwMode="auto">
          <a:xfrm>
            <a:off x="1250512" y="3214686"/>
            <a:ext cx="178595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无线数据体系</a:t>
            </a:r>
            <a:endParaRPr lang="en-US" altLang="zh-CN" sz="2000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83852000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3"/>
          <p:cNvGrpSpPr>
            <a:grpSpLocks/>
          </p:cNvGrpSpPr>
          <p:nvPr/>
        </p:nvGrpSpPr>
        <p:grpSpPr bwMode="auto">
          <a:xfrm>
            <a:off x="714348" y="857232"/>
            <a:ext cx="1724025" cy="493712"/>
            <a:chOff x="0" y="708"/>
            <a:chExt cx="1440" cy="458"/>
          </a:xfrm>
        </p:grpSpPr>
        <p:sp>
          <p:nvSpPr>
            <p:cNvPr id="37" name="Freeform 13"/>
            <p:cNvSpPr>
              <a:spLocks noChangeArrowheads="1"/>
            </p:cNvSpPr>
            <p:nvPr/>
          </p:nvSpPr>
          <p:spPr bwMode="auto">
            <a:xfrm>
              <a:off x="60" y="976"/>
              <a:ext cx="1270" cy="190"/>
            </a:xfrm>
            <a:custGeom>
              <a:avLst/>
              <a:gdLst>
                <a:gd name="T0" fmla="*/ 1633 w 1120"/>
                <a:gd name="T1" fmla="*/ 108 h 252"/>
                <a:gd name="T2" fmla="*/ 1626 w 1120"/>
                <a:gd name="T3" fmla="*/ 107 h 252"/>
                <a:gd name="T4" fmla="*/ 1603 w 1120"/>
                <a:gd name="T5" fmla="*/ 105 h 252"/>
                <a:gd name="T6" fmla="*/ 1566 w 1120"/>
                <a:gd name="T7" fmla="*/ 103 h 252"/>
                <a:gd name="T8" fmla="*/ 1514 w 1120"/>
                <a:gd name="T9" fmla="*/ 100 h 252"/>
                <a:gd name="T10" fmla="*/ 1447 w 1120"/>
                <a:gd name="T11" fmla="*/ 95 h 252"/>
                <a:gd name="T12" fmla="*/ 1369 w 1120"/>
                <a:gd name="T13" fmla="*/ 91 h 252"/>
                <a:gd name="T14" fmla="*/ 1277 w 1120"/>
                <a:gd name="T15" fmla="*/ 87 h 252"/>
                <a:gd name="T16" fmla="*/ 1175 w 1120"/>
                <a:gd name="T17" fmla="*/ 84 h 252"/>
                <a:gd name="T18" fmla="*/ 1065 w 1120"/>
                <a:gd name="T19" fmla="*/ 81 h 252"/>
                <a:gd name="T20" fmla="*/ 942 w 1120"/>
                <a:gd name="T21" fmla="*/ 79 h 252"/>
                <a:gd name="T22" fmla="*/ 810 w 1120"/>
                <a:gd name="T23" fmla="*/ 79 h 252"/>
                <a:gd name="T24" fmla="*/ 679 w 1120"/>
                <a:gd name="T25" fmla="*/ 79 h 252"/>
                <a:gd name="T26" fmla="*/ 559 w 1120"/>
                <a:gd name="T27" fmla="*/ 81 h 252"/>
                <a:gd name="T28" fmla="*/ 449 w 1120"/>
                <a:gd name="T29" fmla="*/ 84 h 252"/>
                <a:gd name="T30" fmla="*/ 347 w 1120"/>
                <a:gd name="T31" fmla="*/ 87 h 252"/>
                <a:gd name="T32" fmla="*/ 260 w 1120"/>
                <a:gd name="T33" fmla="*/ 91 h 252"/>
                <a:gd name="T34" fmla="*/ 184 w 1120"/>
                <a:gd name="T35" fmla="*/ 95 h 252"/>
                <a:gd name="T36" fmla="*/ 119 w 1120"/>
                <a:gd name="T37" fmla="*/ 100 h 252"/>
                <a:gd name="T38" fmla="*/ 67 w 1120"/>
                <a:gd name="T39" fmla="*/ 103 h 252"/>
                <a:gd name="T40" fmla="*/ 29 w 1120"/>
                <a:gd name="T41" fmla="*/ 105 h 252"/>
                <a:gd name="T42" fmla="*/ 9 w 1120"/>
                <a:gd name="T43" fmla="*/ 107 h 252"/>
                <a:gd name="T44" fmla="*/ 0 w 1120"/>
                <a:gd name="T45" fmla="*/ 108 h 252"/>
                <a:gd name="T46" fmla="*/ 0 w 1120"/>
                <a:gd name="T47" fmla="*/ 26 h 252"/>
                <a:gd name="T48" fmla="*/ 816 w 1120"/>
                <a:gd name="T49" fmla="*/ 0 h 252"/>
                <a:gd name="T50" fmla="*/ 1633 w 1120"/>
                <a:gd name="T51" fmla="*/ 26 h 252"/>
                <a:gd name="T52" fmla="*/ 1633 w 1120"/>
                <a:gd name="T53" fmla="*/ 108 h 252"/>
                <a:gd name="T54" fmla="*/ 1633 w 1120"/>
                <a:gd name="T55" fmla="*/ 108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" name="Rectangle 14"/>
            <p:cNvSpPr>
              <a:spLocks noChangeArrowheads="1"/>
            </p:cNvSpPr>
            <p:nvPr/>
          </p:nvSpPr>
          <p:spPr bwMode="auto">
            <a:xfrm>
              <a:off x="0" y="708"/>
              <a:ext cx="1440" cy="39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charset="0"/>
                  <a:cs typeface="Arial" charset="0"/>
                </a:rPr>
                <a:t>数据采集</a:t>
              </a:r>
              <a:endPara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endParaRPr>
            </a:p>
          </p:txBody>
        </p:sp>
      </p:grpSp>
      <p:sp>
        <p:nvSpPr>
          <p:cNvPr id="39" name="AutoShape 3"/>
          <p:cNvSpPr>
            <a:spLocks noChangeArrowheads="1"/>
          </p:cNvSpPr>
          <p:nvPr/>
        </p:nvSpPr>
        <p:spPr bwMode="gray">
          <a:xfrm>
            <a:off x="1155023" y="2292338"/>
            <a:ext cx="2913625" cy="3615352"/>
          </a:xfrm>
          <a:prstGeom prst="roundRect">
            <a:avLst>
              <a:gd name="adj" fmla="val 4690"/>
            </a:avLst>
          </a:prstGeom>
          <a:solidFill>
            <a:srgbClr val="A9DC86"/>
          </a:solidFill>
          <a:ln w="9525">
            <a:round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A9DC86"/>
            </a:extrusionClr>
          </a:sp3d>
        </p:spPr>
        <p:txBody>
          <a:bodyPr wrap="none" anchor="ctr">
            <a:flatTx/>
          </a:bodyPr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0" name="AutoShape 4"/>
          <p:cNvSpPr>
            <a:spLocks noChangeArrowheads="1"/>
          </p:cNvSpPr>
          <p:nvPr/>
        </p:nvSpPr>
        <p:spPr bwMode="gray">
          <a:xfrm>
            <a:off x="1071538" y="1714488"/>
            <a:ext cx="3147550" cy="4397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B828"/>
              </a:gs>
              <a:gs pos="100000">
                <a:srgbClr val="2F611D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1" name="AutoShape 6"/>
          <p:cNvSpPr>
            <a:spLocks noChangeArrowheads="1"/>
          </p:cNvSpPr>
          <p:nvPr/>
        </p:nvSpPr>
        <p:spPr bwMode="gray">
          <a:xfrm>
            <a:off x="5137193" y="2292338"/>
            <a:ext cx="2802612" cy="3615352"/>
          </a:xfrm>
          <a:prstGeom prst="roundRect">
            <a:avLst>
              <a:gd name="adj" fmla="val 4690"/>
            </a:avLst>
          </a:prstGeom>
          <a:solidFill>
            <a:srgbClr val="6FC5E3"/>
          </a:solidFill>
          <a:ln w="9525">
            <a:round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6FC5E3"/>
            </a:extrusionClr>
          </a:sp3d>
        </p:spPr>
        <p:txBody>
          <a:bodyPr wrap="none" anchor="ctr">
            <a:flatTx/>
          </a:bodyPr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gray">
          <a:xfrm>
            <a:off x="2099117" y="1763542"/>
            <a:ext cx="12997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zh-CN" altLang="en-US" sz="16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客户端</a:t>
            </a:r>
            <a:endParaRPr lang="en-US" altLang="zh-CN" sz="1600" b="1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gray">
          <a:xfrm>
            <a:off x="1226461" y="2457690"/>
            <a:ext cx="2789853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SDK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（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Android/</a:t>
            </a:r>
            <a:r>
              <a:rPr lang="en-US" altLang="zh-CN" sz="1600" dirty="0" err="1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iOS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/WP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）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Session + Event</a:t>
            </a: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Session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包括自定义设备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ID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，硬件基础信息，软件基础信息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Event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定义用户行为事件，可自定义扩展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本地压缩并缓存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特定事件触发上传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4" name="Text Box 11"/>
          <p:cNvSpPr txBox="1">
            <a:spLocks noChangeArrowheads="1"/>
          </p:cNvSpPr>
          <p:nvPr/>
        </p:nvSpPr>
        <p:spPr bwMode="gray">
          <a:xfrm>
            <a:off x="5006496" y="2525701"/>
            <a:ext cx="299721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endParaRPr lang="en-US" altLang="zh-CN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5" name="Text Box 14"/>
          <p:cNvSpPr txBox="1">
            <a:spLocks noChangeArrowheads="1"/>
          </p:cNvSpPr>
          <p:nvPr/>
        </p:nvSpPr>
        <p:spPr bwMode="gray">
          <a:xfrm>
            <a:off x="5259211" y="1757351"/>
            <a:ext cx="240317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altLang="zh-CN" sz="16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2013</a:t>
            </a:r>
            <a:r>
              <a:rPr lang="zh-CN" altLang="en-US" sz="16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年发展驱动</a:t>
            </a:r>
            <a:endParaRPr lang="en-US" altLang="zh-CN" sz="1600" b="1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6" name="AutoShape 15"/>
          <p:cNvSpPr>
            <a:spLocks noChangeArrowheads="1"/>
          </p:cNvSpPr>
          <p:nvPr/>
        </p:nvSpPr>
        <p:spPr bwMode="gray">
          <a:xfrm>
            <a:off x="5145129" y="1714488"/>
            <a:ext cx="2998771" cy="4397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4B71DD"/>
              </a:gs>
              <a:gs pos="100000">
                <a:srgbClr val="233466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7" name="Text Box 16"/>
          <p:cNvSpPr txBox="1">
            <a:spLocks noChangeArrowheads="1"/>
          </p:cNvSpPr>
          <p:nvPr/>
        </p:nvSpPr>
        <p:spPr bwMode="gray">
          <a:xfrm>
            <a:off x="5806830" y="1763542"/>
            <a:ext cx="146766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altLang="zh-CN" sz="1600" b="1" dirty="0" err="1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Wap</a:t>
            </a:r>
            <a:r>
              <a:rPr lang="en-US" altLang="zh-CN" sz="16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/H5</a:t>
            </a:r>
            <a:endParaRPr lang="en-US" altLang="zh-CN" sz="1600" b="1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8" name="Text Box 10"/>
          <p:cNvSpPr txBox="1">
            <a:spLocks noChangeArrowheads="1"/>
          </p:cNvSpPr>
          <p:nvPr/>
        </p:nvSpPr>
        <p:spPr bwMode="gray">
          <a:xfrm>
            <a:off x="5153723" y="2530724"/>
            <a:ext cx="2789853" cy="18158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lang="en-US" altLang="zh-CN" sz="1600" dirty="0" err="1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j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采集脚本（</a:t>
            </a:r>
            <a:r>
              <a:rPr lang="en-US" altLang="zh-CN" sz="1600" dirty="0" err="1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url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lang="en-US" altLang="zh-CN" sz="1600" dirty="0" err="1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ajax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lang="en-US" altLang="zh-CN" sz="1600" dirty="0" err="1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j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）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集中的第三方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log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服务模式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Cookie id</a:t>
            </a: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服务端注入采集</a:t>
            </a:r>
            <a:r>
              <a:rPr lang="en-US" altLang="zh-CN" sz="1600" dirty="0" err="1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j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，无须前端页面埋点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  <a:p>
            <a:pPr eaLnBrk="0" hangingPunct="0">
              <a:buFont typeface="Arial" pitchFamily="34" charset="0"/>
              <a:buChar char="•"/>
            </a:pP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服务端代理转发，减少客户端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http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请求</a:t>
            </a:r>
            <a:endParaRPr lang="en-US" altLang="zh-CN" sz="1600" dirty="0" smtClean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9" name="左右箭头 48"/>
          <p:cNvSpPr/>
          <p:nvPr/>
        </p:nvSpPr>
        <p:spPr>
          <a:xfrm>
            <a:off x="4286248" y="3550236"/>
            <a:ext cx="785818" cy="357190"/>
          </a:xfrm>
          <a:prstGeom prst="left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852000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714348" y="857232"/>
            <a:ext cx="1724025" cy="493712"/>
            <a:chOff x="0" y="708"/>
            <a:chExt cx="1440" cy="458"/>
          </a:xfrm>
        </p:grpSpPr>
        <p:sp>
          <p:nvSpPr>
            <p:cNvPr id="3" name="Freeform 13"/>
            <p:cNvSpPr>
              <a:spLocks noChangeArrowheads="1"/>
            </p:cNvSpPr>
            <p:nvPr/>
          </p:nvSpPr>
          <p:spPr bwMode="auto">
            <a:xfrm>
              <a:off x="60" y="976"/>
              <a:ext cx="1270" cy="190"/>
            </a:xfrm>
            <a:custGeom>
              <a:avLst/>
              <a:gdLst>
                <a:gd name="T0" fmla="*/ 1633 w 1120"/>
                <a:gd name="T1" fmla="*/ 108 h 252"/>
                <a:gd name="T2" fmla="*/ 1626 w 1120"/>
                <a:gd name="T3" fmla="*/ 107 h 252"/>
                <a:gd name="T4" fmla="*/ 1603 w 1120"/>
                <a:gd name="T5" fmla="*/ 105 h 252"/>
                <a:gd name="T6" fmla="*/ 1566 w 1120"/>
                <a:gd name="T7" fmla="*/ 103 h 252"/>
                <a:gd name="T8" fmla="*/ 1514 w 1120"/>
                <a:gd name="T9" fmla="*/ 100 h 252"/>
                <a:gd name="T10" fmla="*/ 1447 w 1120"/>
                <a:gd name="T11" fmla="*/ 95 h 252"/>
                <a:gd name="T12" fmla="*/ 1369 w 1120"/>
                <a:gd name="T13" fmla="*/ 91 h 252"/>
                <a:gd name="T14" fmla="*/ 1277 w 1120"/>
                <a:gd name="T15" fmla="*/ 87 h 252"/>
                <a:gd name="T16" fmla="*/ 1175 w 1120"/>
                <a:gd name="T17" fmla="*/ 84 h 252"/>
                <a:gd name="T18" fmla="*/ 1065 w 1120"/>
                <a:gd name="T19" fmla="*/ 81 h 252"/>
                <a:gd name="T20" fmla="*/ 942 w 1120"/>
                <a:gd name="T21" fmla="*/ 79 h 252"/>
                <a:gd name="T22" fmla="*/ 810 w 1120"/>
                <a:gd name="T23" fmla="*/ 79 h 252"/>
                <a:gd name="T24" fmla="*/ 679 w 1120"/>
                <a:gd name="T25" fmla="*/ 79 h 252"/>
                <a:gd name="T26" fmla="*/ 559 w 1120"/>
                <a:gd name="T27" fmla="*/ 81 h 252"/>
                <a:gd name="T28" fmla="*/ 449 w 1120"/>
                <a:gd name="T29" fmla="*/ 84 h 252"/>
                <a:gd name="T30" fmla="*/ 347 w 1120"/>
                <a:gd name="T31" fmla="*/ 87 h 252"/>
                <a:gd name="T32" fmla="*/ 260 w 1120"/>
                <a:gd name="T33" fmla="*/ 91 h 252"/>
                <a:gd name="T34" fmla="*/ 184 w 1120"/>
                <a:gd name="T35" fmla="*/ 95 h 252"/>
                <a:gd name="T36" fmla="*/ 119 w 1120"/>
                <a:gd name="T37" fmla="*/ 100 h 252"/>
                <a:gd name="T38" fmla="*/ 67 w 1120"/>
                <a:gd name="T39" fmla="*/ 103 h 252"/>
                <a:gd name="T40" fmla="*/ 29 w 1120"/>
                <a:gd name="T41" fmla="*/ 105 h 252"/>
                <a:gd name="T42" fmla="*/ 9 w 1120"/>
                <a:gd name="T43" fmla="*/ 107 h 252"/>
                <a:gd name="T44" fmla="*/ 0 w 1120"/>
                <a:gd name="T45" fmla="*/ 108 h 252"/>
                <a:gd name="T46" fmla="*/ 0 w 1120"/>
                <a:gd name="T47" fmla="*/ 26 h 252"/>
                <a:gd name="T48" fmla="*/ 816 w 1120"/>
                <a:gd name="T49" fmla="*/ 0 h 252"/>
                <a:gd name="T50" fmla="*/ 1633 w 1120"/>
                <a:gd name="T51" fmla="*/ 26 h 252"/>
                <a:gd name="T52" fmla="*/ 1633 w 1120"/>
                <a:gd name="T53" fmla="*/ 108 h 252"/>
                <a:gd name="T54" fmla="*/ 1633 w 1120"/>
                <a:gd name="T55" fmla="*/ 108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" name="Rectangle 14"/>
            <p:cNvSpPr>
              <a:spLocks noChangeArrowheads="1"/>
            </p:cNvSpPr>
            <p:nvPr/>
          </p:nvSpPr>
          <p:spPr bwMode="auto">
            <a:xfrm>
              <a:off x="0" y="708"/>
              <a:ext cx="1440" cy="393"/>
            </a:xfrm>
            <a:prstGeom prst="rect">
              <a:avLst/>
            </a:prstGeom>
            <a:solidFill>
              <a:srgbClr val="5E77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charset="0"/>
                  <a:cs typeface="Arial" charset="0"/>
                </a:rPr>
                <a:t>接收服务</a:t>
              </a:r>
              <a:endPara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endParaRPr>
            </a:p>
          </p:txBody>
        </p:sp>
      </p:grpSp>
      <p:sp>
        <p:nvSpPr>
          <p:cNvPr id="5" name="AutoShape 3"/>
          <p:cNvSpPr>
            <a:spLocks noChangeArrowheads="1"/>
          </p:cNvSpPr>
          <p:nvPr/>
        </p:nvSpPr>
        <p:spPr bwMode="gray">
          <a:xfrm rot="5400000">
            <a:off x="679422" y="2608256"/>
            <a:ext cx="3998942" cy="2786082"/>
          </a:xfrm>
          <a:prstGeom prst="roundRect">
            <a:avLst>
              <a:gd name="adj" fmla="val 19894"/>
            </a:avLst>
          </a:prstGeom>
          <a:gradFill rotWithShape="1">
            <a:gsLst>
              <a:gs pos="0">
                <a:schemeClr val="bg1">
                  <a:gamma/>
                  <a:shade val="78824"/>
                  <a:invGamma/>
                  <a:alpha val="98000"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78824"/>
                  <a:invGamma/>
                  <a:alpha val="98000"/>
                </a:schemeClr>
              </a:gs>
            </a:gsLst>
            <a:lin ang="5400000" scaled="1"/>
          </a:gradFill>
          <a:ln w="38100" algn="ctr">
            <a:solidFill>
              <a:srgbClr val="DDDDD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Freeform 4"/>
          <p:cNvSpPr>
            <a:spLocks/>
          </p:cNvSpPr>
          <p:nvPr/>
        </p:nvSpPr>
        <p:spPr bwMode="gray">
          <a:xfrm>
            <a:off x="1294299" y="2000239"/>
            <a:ext cx="2797572" cy="661173"/>
          </a:xfrm>
          <a:custGeom>
            <a:avLst/>
            <a:gdLst>
              <a:gd name="T0" fmla="*/ 2147483647 w 1270"/>
              <a:gd name="T1" fmla="*/ 2147483647 h 303"/>
              <a:gd name="T2" fmla="*/ 2147483647 w 1270"/>
              <a:gd name="T3" fmla="*/ 2147483647 h 303"/>
              <a:gd name="T4" fmla="*/ 2147483647 w 1270"/>
              <a:gd name="T5" fmla="*/ 2147483647 h 303"/>
              <a:gd name="T6" fmla="*/ 2147483647 w 1270"/>
              <a:gd name="T7" fmla="*/ 2147483647 h 303"/>
              <a:gd name="T8" fmla="*/ 2147483647 w 1270"/>
              <a:gd name="T9" fmla="*/ 2147483647 h 303"/>
              <a:gd name="T10" fmla="*/ 2147483647 w 1270"/>
              <a:gd name="T11" fmla="*/ 2147483647 h 303"/>
              <a:gd name="T12" fmla="*/ 2147483647 w 1270"/>
              <a:gd name="T13" fmla="*/ 2147483647 h 303"/>
              <a:gd name="T14" fmla="*/ 2147483647 w 1270"/>
              <a:gd name="T15" fmla="*/ 2147483647 h 303"/>
              <a:gd name="T16" fmla="*/ 2147483647 w 1270"/>
              <a:gd name="T17" fmla="*/ 2147483647 h 30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70"/>
              <a:gd name="T28" fmla="*/ 0 h 303"/>
              <a:gd name="T29" fmla="*/ 1270 w 1270"/>
              <a:gd name="T30" fmla="*/ 303 h 30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70" h="303">
                <a:moveTo>
                  <a:pt x="5" y="303"/>
                </a:moveTo>
                <a:cubicBezTo>
                  <a:pt x="5" y="303"/>
                  <a:pt x="0" y="253"/>
                  <a:pt x="21" y="177"/>
                </a:cubicBezTo>
                <a:cubicBezTo>
                  <a:pt x="48" y="130"/>
                  <a:pt x="69" y="44"/>
                  <a:pt x="172" y="22"/>
                </a:cubicBezTo>
                <a:cubicBezTo>
                  <a:pt x="275" y="0"/>
                  <a:pt x="235" y="13"/>
                  <a:pt x="361" y="11"/>
                </a:cubicBezTo>
                <a:cubicBezTo>
                  <a:pt x="487" y="9"/>
                  <a:pt x="813" y="12"/>
                  <a:pt x="932" y="12"/>
                </a:cubicBezTo>
                <a:cubicBezTo>
                  <a:pt x="1050" y="12"/>
                  <a:pt x="998" y="2"/>
                  <a:pt x="1070" y="14"/>
                </a:cubicBezTo>
                <a:cubicBezTo>
                  <a:pt x="1143" y="26"/>
                  <a:pt x="1215" y="84"/>
                  <a:pt x="1260" y="189"/>
                </a:cubicBezTo>
                <a:cubicBezTo>
                  <a:pt x="1270" y="262"/>
                  <a:pt x="1266" y="302"/>
                  <a:pt x="1266" y="302"/>
                </a:cubicBezTo>
                <a:lnTo>
                  <a:pt x="5" y="303"/>
                </a:lnTo>
                <a:close/>
              </a:path>
            </a:pathLst>
          </a:custGeom>
          <a:solidFill>
            <a:schemeClr val="accent2">
              <a:alpha val="50195"/>
            </a:schemeClr>
          </a:solidFill>
          <a:ln w="38100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1757252" y="2202412"/>
            <a:ext cx="193882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dirty="0" smtClean="0">
                <a:solidFill>
                  <a:srgbClr val="1C1C1C"/>
                </a:solidFill>
              </a:rPr>
              <a:t>Java + </a:t>
            </a:r>
            <a:r>
              <a:rPr lang="en-US" altLang="zh-CN" dirty="0" err="1" smtClean="0">
                <a:solidFill>
                  <a:srgbClr val="1C1C1C"/>
                </a:solidFill>
              </a:rPr>
              <a:t>Webx</a:t>
            </a:r>
            <a:endParaRPr lang="en-US" altLang="zh-CN" dirty="0">
              <a:solidFill>
                <a:srgbClr val="1C1C1C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gray">
          <a:xfrm>
            <a:off x="1333985" y="2678101"/>
            <a:ext cx="2666511" cy="2893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适合复杂业务逻辑</a:t>
            </a: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适合大团队合作开发</a:t>
            </a: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内部成熟框架，</a:t>
            </a: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Filter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自动处理多种内部业务逻辑</a:t>
            </a: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部署框架成熟，但部署过程相对复杂</a:t>
            </a: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QPS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相对较低，</a:t>
            </a: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1000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左右</a:t>
            </a: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假设一天日志上传请求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10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亿次，以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10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个小时高峰计算，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QPS=27777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，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28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台虚拟机才能满足</a:t>
            </a:r>
          </a:p>
          <a:p>
            <a:pPr marL="285750" indent="-285750" eaLnBrk="0" hangingPunct="0">
              <a:buFont typeface="Arial"/>
              <a:buChar char="•"/>
            </a:pP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gray">
          <a:xfrm rot="5400000">
            <a:off x="4356379" y="2641876"/>
            <a:ext cx="3997354" cy="2720430"/>
          </a:xfrm>
          <a:prstGeom prst="roundRect">
            <a:avLst>
              <a:gd name="adj" fmla="val 19894"/>
            </a:avLst>
          </a:prstGeom>
          <a:gradFill rotWithShape="1">
            <a:gsLst>
              <a:gs pos="0">
                <a:schemeClr val="bg1">
                  <a:gamma/>
                  <a:shade val="78824"/>
                  <a:invGamma/>
                  <a:alpha val="98000"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78824"/>
                  <a:invGamma/>
                  <a:alpha val="98000"/>
                </a:schemeClr>
              </a:gs>
            </a:gsLst>
            <a:lin ang="5400000" scaled="1"/>
          </a:gradFill>
          <a:ln w="38100" algn="ctr">
            <a:solidFill>
              <a:srgbClr val="DDDDD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5010723" y="2000239"/>
            <a:ext cx="2742409" cy="660915"/>
          </a:xfrm>
          <a:custGeom>
            <a:avLst/>
            <a:gdLst>
              <a:gd name="T0" fmla="*/ 2147483647 w 1261"/>
              <a:gd name="T1" fmla="*/ 2147483647 h 303"/>
              <a:gd name="T2" fmla="*/ 2147483647 w 1261"/>
              <a:gd name="T3" fmla="*/ 2147483647 h 303"/>
              <a:gd name="T4" fmla="*/ 2147483647 w 1261"/>
              <a:gd name="T5" fmla="*/ 2147483647 h 303"/>
              <a:gd name="T6" fmla="*/ 2147483647 w 1261"/>
              <a:gd name="T7" fmla="*/ 2147483647 h 303"/>
              <a:gd name="T8" fmla="*/ 2147483647 w 1261"/>
              <a:gd name="T9" fmla="*/ 2147483647 h 303"/>
              <a:gd name="T10" fmla="*/ 2147483647 w 1261"/>
              <a:gd name="T11" fmla="*/ 2147483647 h 303"/>
              <a:gd name="T12" fmla="*/ 2147483647 w 1261"/>
              <a:gd name="T13" fmla="*/ 2147483647 h 303"/>
              <a:gd name="T14" fmla="*/ 2147483647 w 1261"/>
              <a:gd name="T15" fmla="*/ 2147483647 h 303"/>
              <a:gd name="T16" fmla="*/ 2147483647 w 1261"/>
              <a:gd name="T17" fmla="*/ 2147483647 h 30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61"/>
              <a:gd name="T28" fmla="*/ 0 h 303"/>
              <a:gd name="T29" fmla="*/ 1261 w 1261"/>
              <a:gd name="T30" fmla="*/ 303 h 30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61" h="303">
                <a:moveTo>
                  <a:pt x="6" y="297"/>
                </a:moveTo>
                <a:cubicBezTo>
                  <a:pt x="6" y="297"/>
                  <a:pt x="0" y="225"/>
                  <a:pt x="18" y="174"/>
                </a:cubicBezTo>
                <a:cubicBezTo>
                  <a:pt x="36" y="123"/>
                  <a:pt x="105" y="45"/>
                  <a:pt x="171" y="30"/>
                </a:cubicBezTo>
                <a:cubicBezTo>
                  <a:pt x="237" y="15"/>
                  <a:pt x="227" y="16"/>
                  <a:pt x="352" y="13"/>
                </a:cubicBezTo>
                <a:cubicBezTo>
                  <a:pt x="477" y="10"/>
                  <a:pt x="804" y="10"/>
                  <a:pt x="922" y="10"/>
                </a:cubicBezTo>
                <a:cubicBezTo>
                  <a:pt x="1039" y="10"/>
                  <a:pt x="988" y="0"/>
                  <a:pt x="1061" y="12"/>
                </a:cubicBezTo>
                <a:cubicBezTo>
                  <a:pt x="1133" y="24"/>
                  <a:pt x="1206" y="83"/>
                  <a:pt x="1251" y="190"/>
                </a:cubicBezTo>
                <a:cubicBezTo>
                  <a:pt x="1261" y="263"/>
                  <a:pt x="1257" y="303"/>
                  <a:pt x="1257" y="303"/>
                </a:cubicBezTo>
                <a:lnTo>
                  <a:pt x="6" y="297"/>
                </a:lnTo>
                <a:close/>
              </a:path>
            </a:pathLst>
          </a:custGeom>
          <a:solidFill>
            <a:schemeClr val="accent1">
              <a:alpha val="50195"/>
            </a:schemeClr>
          </a:solidFill>
          <a:ln w="38100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gray">
          <a:xfrm>
            <a:off x="5381528" y="2143116"/>
            <a:ext cx="190511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dirty="0" err="1" smtClean="0">
                <a:solidFill>
                  <a:srgbClr val="1C1C1C"/>
                </a:solidFill>
              </a:rPr>
              <a:t>Tengine</a:t>
            </a:r>
            <a:r>
              <a:rPr lang="en-US" altLang="zh-CN" dirty="0" smtClean="0">
                <a:solidFill>
                  <a:srgbClr val="1C1C1C"/>
                </a:solidFill>
              </a:rPr>
              <a:t> + </a:t>
            </a:r>
            <a:r>
              <a:rPr lang="en-US" altLang="zh-CN" dirty="0" err="1" smtClean="0">
                <a:solidFill>
                  <a:srgbClr val="1C1C1C"/>
                </a:solidFill>
              </a:rPr>
              <a:t>ngx_lua</a:t>
            </a:r>
            <a:endParaRPr lang="en-US" altLang="zh-CN" dirty="0">
              <a:solidFill>
                <a:srgbClr val="1C1C1C"/>
              </a:solidFill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gray">
          <a:xfrm>
            <a:off x="5048936" y="2668924"/>
            <a:ext cx="2666336" cy="26776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轻量，高并发</a:t>
            </a:r>
            <a:endParaRPr lang="en-US" altLang="zh-CN" sz="1400" dirty="0" smtClean="0">
              <a:solidFill>
                <a:srgbClr val="1C1C1C"/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适合单人快速实现</a:t>
            </a:r>
            <a:endParaRPr lang="en-US" altLang="zh-CN" sz="1400" dirty="0" smtClean="0">
              <a:solidFill>
                <a:srgbClr val="1C1C1C"/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en-US" altLang="zh-CN" sz="1400" dirty="0" err="1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Tengine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有专门团队负责，</a:t>
            </a:r>
            <a:r>
              <a:rPr lang="en-US" sz="1400" dirty="0" smtClean="0">
                <a:hlinkClick r:id="rId2"/>
              </a:rPr>
              <a:t>http://tengine.taobao.org/</a:t>
            </a:r>
            <a:endParaRPr lang="en-US" altLang="zh-CN" sz="1400" dirty="0" smtClean="0">
              <a:solidFill>
                <a:srgbClr val="1C1C1C"/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en-US" altLang="zh-CN" sz="1400" dirty="0" err="1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Ngx_lua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在内部有成熟应用，部署简单</a:t>
            </a:r>
            <a:endParaRPr lang="en-US" altLang="zh-CN" sz="1400" dirty="0" smtClean="0">
              <a:solidFill>
                <a:srgbClr val="1C1C1C"/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eaLnBrk="0" hangingPunct="0">
              <a:buFont typeface="Arial"/>
              <a:buChar char="•"/>
            </a:pP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QPS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轻松达到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6000+</a:t>
            </a:r>
          </a:p>
          <a:p>
            <a:pPr marL="285750" indent="-285750" eaLnBrk="0" hangingPunct="0">
              <a:buFont typeface="Arial"/>
              <a:buChar char="•"/>
            </a:pP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假设一天日志上传请求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10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亿次，以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10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个小时高峰计算，</a:t>
            </a:r>
            <a:r>
              <a:rPr lang="en-US" altLang="zh-CN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QPS=27777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，</a:t>
            </a:r>
            <a:r>
              <a:rPr lang="en-US" altLang="zh-CN" sz="2800" dirty="0" smtClean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5 </a:t>
            </a:r>
            <a:r>
              <a:rPr lang="zh-CN" altLang="en-US" sz="1400" dirty="0" smtClean="0">
                <a:solidFill>
                  <a:srgbClr val="1C1C1C"/>
                </a:solidFill>
                <a:latin typeface="微软雅黑"/>
                <a:ea typeface="微软雅黑"/>
                <a:cs typeface="微软雅黑"/>
              </a:rPr>
              <a:t>台虚拟机即可满足</a:t>
            </a:r>
            <a:endParaRPr lang="zh-CN" altLang="en-US" sz="1400" dirty="0">
              <a:solidFill>
                <a:srgbClr val="1C1C1C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4" name="Freeform 7"/>
          <p:cNvSpPr>
            <a:spLocks/>
          </p:cNvSpPr>
          <p:nvPr/>
        </p:nvSpPr>
        <p:spPr bwMode="gray">
          <a:xfrm rot="1332565">
            <a:off x="3736178" y="1162969"/>
            <a:ext cx="1466850" cy="1157288"/>
          </a:xfrm>
          <a:custGeom>
            <a:avLst/>
            <a:gdLst>
              <a:gd name="T0" fmla="*/ 0 w 982"/>
              <a:gd name="T1" fmla="*/ 2147483647 h 774"/>
              <a:gd name="T2" fmla="*/ 2147483647 w 982"/>
              <a:gd name="T3" fmla="*/ 2147483647 h 774"/>
              <a:gd name="T4" fmla="*/ 2147483647 w 982"/>
              <a:gd name="T5" fmla="*/ 2147483647 h 774"/>
              <a:gd name="T6" fmla="*/ 2147483647 w 982"/>
              <a:gd name="T7" fmla="*/ 2147483647 h 774"/>
              <a:gd name="T8" fmla="*/ 2147483647 w 982"/>
              <a:gd name="T9" fmla="*/ 2147483647 h 774"/>
              <a:gd name="T10" fmla="*/ 2147483647 w 982"/>
              <a:gd name="T11" fmla="*/ 2147483647 h 774"/>
              <a:gd name="T12" fmla="*/ 2147483647 w 982"/>
              <a:gd name="T13" fmla="*/ 2147483647 h 774"/>
              <a:gd name="T14" fmla="*/ 2147483647 w 982"/>
              <a:gd name="T15" fmla="*/ 2147483647 h 774"/>
              <a:gd name="T16" fmla="*/ 2147483647 w 982"/>
              <a:gd name="T17" fmla="*/ 2147483647 h 774"/>
              <a:gd name="T18" fmla="*/ 2147483647 w 982"/>
              <a:gd name="T19" fmla="*/ 2147483647 h 774"/>
              <a:gd name="T20" fmla="*/ 2147483647 w 982"/>
              <a:gd name="T21" fmla="*/ 2147483647 h 774"/>
              <a:gd name="T22" fmla="*/ 2147483647 w 982"/>
              <a:gd name="T23" fmla="*/ 2147483647 h 774"/>
              <a:gd name="T24" fmla="*/ 2147483647 w 982"/>
              <a:gd name="T25" fmla="*/ 2147483647 h 774"/>
              <a:gd name="T26" fmla="*/ 2147483647 w 982"/>
              <a:gd name="T27" fmla="*/ 2147483647 h 774"/>
              <a:gd name="T28" fmla="*/ 2147483647 w 982"/>
              <a:gd name="T29" fmla="*/ 2147483647 h 774"/>
              <a:gd name="T30" fmla="*/ 2147483647 w 982"/>
              <a:gd name="T31" fmla="*/ 2147483647 h 774"/>
              <a:gd name="T32" fmla="*/ 2147483647 w 982"/>
              <a:gd name="T33" fmla="*/ 2147483647 h 774"/>
              <a:gd name="T34" fmla="*/ 2147483647 w 982"/>
              <a:gd name="T35" fmla="*/ 2147483647 h 774"/>
              <a:gd name="T36" fmla="*/ 2147483647 w 982"/>
              <a:gd name="T37" fmla="*/ 2147483647 h 774"/>
              <a:gd name="T38" fmla="*/ 2147483647 w 982"/>
              <a:gd name="T39" fmla="*/ 2147483647 h 774"/>
              <a:gd name="T40" fmla="*/ 2147483647 w 982"/>
              <a:gd name="T41" fmla="*/ 2147483647 h 774"/>
              <a:gd name="T42" fmla="*/ 2147483647 w 982"/>
              <a:gd name="T43" fmla="*/ 2147483647 h 774"/>
              <a:gd name="T44" fmla="*/ 2147483647 w 982"/>
              <a:gd name="T45" fmla="*/ 2147483647 h 774"/>
              <a:gd name="T46" fmla="*/ 2147483647 w 982"/>
              <a:gd name="T47" fmla="*/ 2147483647 h 774"/>
              <a:gd name="T48" fmla="*/ 2147483647 w 982"/>
              <a:gd name="T49" fmla="*/ 2147483647 h 774"/>
              <a:gd name="T50" fmla="*/ 2147483647 w 982"/>
              <a:gd name="T51" fmla="*/ 2147483647 h 774"/>
              <a:gd name="T52" fmla="*/ 2147483647 w 982"/>
              <a:gd name="T53" fmla="*/ 0 h 774"/>
              <a:gd name="T54" fmla="*/ 2147483647 w 982"/>
              <a:gd name="T55" fmla="*/ 2147483647 h 774"/>
              <a:gd name="T56" fmla="*/ 2147483647 w 982"/>
              <a:gd name="T57" fmla="*/ 2147483647 h 774"/>
              <a:gd name="T58" fmla="*/ 2147483647 w 982"/>
              <a:gd name="T59" fmla="*/ 2147483647 h 774"/>
              <a:gd name="T60" fmla="*/ 2147483647 w 982"/>
              <a:gd name="T61" fmla="*/ 2147483647 h 774"/>
              <a:gd name="T62" fmla="*/ 2147483647 w 982"/>
              <a:gd name="T63" fmla="*/ 2147483647 h 774"/>
              <a:gd name="T64" fmla="*/ 2147483647 w 982"/>
              <a:gd name="T65" fmla="*/ 2147483647 h 774"/>
              <a:gd name="T66" fmla="*/ 2147483647 w 982"/>
              <a:gd name="T67" fmla="*/ 2147483647 h 774"/>
              <a:gd name="T68" fmla="*/ 2147483647 w 982"/>
              <a:gd name="T69" fmla="*/ 2147483647 h 774"/>
              <a:gd name="T70" fmla="*/ 2147483647 w 982"/>
              <a:gd name="T71" fmla="*/ 2147483647 h 774"/>
              <a:gd name="T72" fmla="*/ 2147483647 w 982"/>
              <a:gd name="T73" fmla="*/ 2147483647 h 774"/>
              <a:gd name="T74" fmla="*/ 2147483647 w 982"/>
              <a:gd name="T75" fmla="*/ 2147483647 h 774"/>
              <a:gd name="T76" fmla="*/ 2147483647 w 982"/>
              <a:gd name="T77" fmla="*/ 2147483647 h 774"/>
              <a:gd name="T78" fmla="*/ 2147483647 w 982"/>
              <a:gd name="T79" fmla="*/ 2147483647 h 774"/>
              <a:gd name="T80" fmla="*/ 2147483647 w 982"/>
              <a:gd name="T81" fmla="*/ 2147483647 h 774"/>
              <a:gd name="T82" fmla="*/ 2147483647 w 982"/>
              <a:gd name="T83" fmla="*/ 2147483647 h 774"/>
              <a:gd name="T84" fmla="*/ 2147483647 w 982"/>
              <a:gd name="T85" fmla="*/ 2147483647 h 774"/>
              <a:gd name="T86" fmla="*/ 2147483647 w 982"/>
              <a:gd name="T87" fmla="*/ 2147483647 h 774"/>
              <a:gd name="T88" fmla="*/ 2147483647 w 982"/>
              <a:gd name="T89" fmla="*/ 2147483647 h 774"/>
              <a:gd name="T90" fmla="*/ 2147483647 w 982"/>
              <a:gd name="T91" fmla="*/ 2147483647 h 774"/>
              <a:gd name="T92" fmla="*/ 2147483647 w 982"/>
              <a:gd name="T93" fmla="*/ 2147483647 h 774"/>
              <a:gd name="T94" fmla="*/ 2147483647 w 982"/>
              <a:gd name="T95" fmla="*/ 2147483647 h 774"/>
              <a:gd name="T96" fmla="*/ 2147483647 w 982"/>
              <a:gd name="T97" fmla="*/ 2147483647 h 774"/>
              <a:gd name="T98" fmla="*/ 2147483647 w 982"/>
              <a:gd name="T99" fmla="*/ 2147483647 h 774"/>
              <a:gd name="T100" fmla="*/ 2147483647 w 982"/>
              <a:gd name="T101" fmla="*/ 2147483647 h 774"/>
              <a:gd name="T102" fmla="*/ 2147483647 w 982"/>
              <a:gd name="T103" fmla="*/ 2147483647 h 774"/>
              <a:gd name="T104" fmla="*/ 0 w 982"/>
              <a:gd name="T105" fmla="*/ 2147483647 h 774"/>
              <a:gd name="T106" fmla="*/ 0 w 982"/>
              <a:gd name="T107" fmla="*/ 2147483647 h 77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982"/>
              <a:gd name="T163" fmla="*/ 0 h 774"/>
              <a:gd name="T164" fmla="*/ 982 w 982"/>
              <a:gd name="T165" fmla="*/ 774 h 77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gradFill rotWithShape="1">
            <a:gsLst>
              <a:gs pos="0">
                <a:srgbClr val="93D267">
                  <a:alpha val="32001"/>
                </a:srgbClr>
              </a:gs>
              <a:gs pos="100000">
                <a:srgbClr val="88CE58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714348" y="857232"/>
            <a:ext cx="1724025" cy="493712"/>
            <a:chOff x="0" y="708"/>
            <a:chExt cx="1440" cy="458"/>
          </a:xfrm>
        </p:grpSpPr>
        <p:sp>
          <p:nvSpPr>
            <p:cNvPr id="3" name="Freeform 13"/>
            <p:cNvSpPr>
              <a:spLocks noChangeArrowheads="1"/>
            </p:cNvSpPr>
            <p:nvPr/>
          </p:nvSpPr>
          <p:spPr bwMode="auto">
            <a:xfrm>
              <a:off x="60" y="976"/>
              <a:ext cx="1270" cy="190"/>
            </a:xfrm>
            <a:custGeom>
              <a:avLst/>
              <a:gdLst>
                <a:gd name="T0" fmla="*/ 1633 w 1120"/>
                <a:gd name="T1" fmla="*/ 108 h 252"/>
                <a:gd name="T2" fmla="*/ 1626 w 1120"/>
                <a:gd name="T3" fmla="*/ 107 h 252"/>
                <a:gd name="T4" fmla="*/ 1603 w 1120"/>
                <a:gd name="T5" fmla="*/ 105 h 252"/>
                <a:gd name="T6" fmla="*/ 1566 w 1120"/>
                <a:gd name="T7" fmla="*/ 103 h 252"/>
                <a:gd name="T8" fmla="*/ 1514 w 1120"/>
                <a:gd name="T9" fmla="*/ 100 h 252"/>
                <a:gd name="T10" fmla="*/ 1447 w 1120"/>
                <a:gd name="T11" fmla="*/ 95 h 252"/>
                <a:gd name="T12" fmla="*/ 1369 w 1120"/>
                <a:gd name="T13" fmla="*/ 91 h 252"/>
                <a:gd name="T14" fmla="*/ 1277 w 1120"/>
                <a:gd name="T15" fmla="*/ 87 h 252"/>
                <a:gd name="T16" fmla="*/ 1175 w 1120"/>
                <a:gd name="T17" fmla="*/ 84 h 252"/>
                <a:gd name="T18" fmla="*/ 1065 w 1120"/>
                <a:gd name="T19" fmla="*/ 81 h 252"/>
                <a:gd name="T20" fmla="*/ 942 w 1120"/>
                <a:gd name="T21" fmla="*/ 79 h 252"/>
                <a:gd name="T22" fmla="*/ 810 w 1120"/>
                <a:gd name="T23" fmla="*/ 79 h 252"/>
                <a:gd name="T24" fmla="*/ 679 w 1120"/>
                <a:gd name="T25" fmla="*/ 79 h 252"/>
                <a:gd name="T26" fmla="*/ 559 w 1120"/>
                <a:gd name="T27" fmla="*/ 81 h 252"/>
                <a:gd name="T28" fmla="*/ 449 w 1120"/>
                <a:gd name="T29" fmla="*/ 84 h 252"/>
                <a:gd name="T30" fmla="*/ 347 w 1120"/>
                <a:gd name="T31" fmla="*/ 87 h 252"/>
                <a:gd name="T32" fmla="*/ 260 w 1120"/>
                <a:gd name="T33" fmla="*/ 91 h 252"/>
                <a:gd name="T34" fmla="*/ 184 w 1120"/>
                <a:gd name="T35" fmla="*/ 95 h 252"/>
                <a:gd name="T36" fmla="*/ 119 w 1120"/>
                <a:gd name="T37" fmla="*/ 100 h 252"/>
                <a:gd name="T38" fmla="*/ 67 w 1120"/>
                <a:gd name="T39" fmla="*/ 103 h 252"/>
                <a:gd name="T40" fmla="*/ 29 w 1120"/>
                <a:gd name="T41" fmla="*/ 105 h 252"/>
                <a:gd name="T42" fmla="*/ 9 w 1120"/>
                <a:gd name="T43" fmla="*/ 107 h 252"/>
                <a:gd name="T44" fmla="*/ 0 w 1120"/>
                <a:gd name="T45" fmla="*/ 108 h 252"/>
                <a:gd name="T46" fmla="*/ 0 w 1120"/>
                <a:gd name="T47" fmla="*/ 26 h 252"/>
                <a:gd name="T48" fmla="*/ 816 w 1120"/>
                <a:gd name="T49" fmla="*/ 0 h 252"/>
                <a:gd name="T50" fmla="*/ 1633 w 1120"/>
                <a:gd name="T51" fmla="*/ 26 h 252"/>
                <a:gd name="T52" fmla="*/ 1633 w 1120"/>
                <a:gd name="T53" fmla="*/ 108 h 252"/>
                <a:gd name="T54" fmla="*/ 1633 w 1120"/>
                <a:gd name="T55" fmla="*/ 108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" name="Rectangle 14"/>
            <p:cNvSpPr>
              <a:spLocks noChangeArrowheads="1"/>
            </p:cNvSpPr>
            <p:nvPr/>
          </p:nvSpPr>
          <p:spPr bwMode="auto">
            <a:xfrm>
              <a:off x="0" y="708"/>
              <a:ext cx="1440" cy="393"/>
            </a:xfrm>
            <a:prstGeom prst="rect">
              <a:avLst/>
            </a:prstGeom>
            <a:solidFill>
              <a:srgbClr val="615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charset="0"/>
                  <a:cs typeface="Arial" charset="0"/>
                </a:rPr>
                <a:t>大数据开发</a:t>
              </a:r>
              <a:endPara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endParaRPr>
            </a:p>
          </p:txBody>
        </p:sp>
      </p:grp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4529" y="1428736"/>
            <a:ext cx="8555189" cy="534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48" y="1376368"/>
            <a:ext cx="8072494" cy="533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7" name="Group 13"/>
          <p:cNvGrpSpPr>
            <a:grpSpLocks/>
          </p:cNvGrpSpPr>
          <p:nvPr/>
        </p:nvGrpSpPr>
        <p:grpSpPr bwMode="auto">
          <a:xfrm>
            <a:off x="714348" y="857232"/>
            <a:ext cx="1724025" cy="493712"/>
            <a:chOff x="0" y="708"/>
            <a:chExt cx="1440" cy="458"/>
          </a:xfrm>
        </p:grpSpPr>
        <p:sp>
          <p:nvSpPr>
            <p:cNvPr id="38" name="Freeform 13"/>
            <p:cNvSpPr>
              <a:spLocks noChangeArrowheads="1"/>
            </p:cNvSpPr>
            <p:nvPr/>
          </p:nvSpPr>
          <p:spPr bwMode="auto">
            <a:xfrm>
              <a:off x="60" y="976"/>
              <a:ext cx="1270" cy="190"/>
            </a:xfrm>
            <a:custGeom>
              <a:avLst/>
              <a:gdLst>
                <a:gd name="T0" fmla="*/ 1633 w 1120"/>
                <a:gd name="T1" fmla="*/ 108 h 252"/>
                <a:gd name="T2" fmla="*/ 1626 w 1120"/>
                <a:gd name="T3" fmla="*/ 107 h 252"/>
                <a:gd name="T4" fmla="*/ 1603 w 1120"/>
                <a:gd name="T5" fmla="*/ 105 h 252"/>
                <a:gd name="T6" fmla="*/ 1566 w 1120"/>
                <a:gd name="T7" fmla="*/ 103 h 252"/>
                <a:gd name="T8" fmla="*/ 1514 w 1120"/>
                <a:gd name="T9" fmla="*/ 100 h 252"/>
                <a:gd name="T10" fmla="*/ 1447 w 1120"/>
                <a:gd name="T11" fmla="*/ 95 h 252"/>
                <a:gd name="T12" fmla="*/ 1369 w 1120"/>
                <a:gd name="T13" fmla="*/ 91 h 252"/>
                <a:gd name="T14" fmla="*/ 1277 w 1120"/>
                <a:gd name="T15" fmla="*/ 87 h 252"/>
                <a:gd name="T16" fmla="*/ 1175 w 1120"/>
                <a:gd name="T17" fmla="*/ 84 h 252"/>
                <a:gd name="T18" fmla="*/ 1065 w 1120"/>
                <a:gd name="T19" fmla="*/ 81 h 252"/>
                <a:gd name="T20" fmla="*/ 942 w 1120"/>
                <a:gd name="T21" fmla="*/ 79 h 252"/>
                <a:gd name="T22" fmla="*/ 810 w 1120"/>
                <a:gd name="T23" fmla="*/ 79 h 252"/>
                <a:gd name="T24" fmla="*/ 679 w 1120"/>
                <a:gd name="T25" fmla="*/ 79 h 252"/>
                <a:gd name="T26" fmla="*/ 559 w 1120"/>
                <a:gd name="T27" fmla="*/ 81 h 252"/>
                <a:gd name="T28" fmla="*/ 449 w 1120"/>
                <a:gd name="T29" fmla="*/ 84 h 252"/>
                <a:gd name="T30" fmla="*/ 347 w 1120"/>
                <a:gd name="T31" fmla="*/ 87 h 252"/>
                <a:gd name="T32" fmla="*/ 260 w 1120"/>
                <a:gd name="T33" fmla="*/ 91 h 252"/>
                <a:gd name="T34" fmla="*/ 184 w 1120"/>
                <a:gd name="T35" fmla="*/ 95 h 252"/>
                <a:gd name="T36" fmla="*/ 119 w 1120"/>
                <a:gd name="T37" fmla="*/ 100 h 252"/>
                <a:gd name="T38" fmla="*/ 67 w 1120"/>
                <a:gd name="T39" fmla="*/ 103 h 252"/>
                <a:gd name="T40" fmla="*/ 29 w 1120"/>
                <a:gd name="T41" fmla="*/ 105 h 252"/>
                <a:gd name="T42" fmla="*/ 9 w 1120"/>
                <a:gd name="T43" fmla="*/ 107 h 252"/>
                <a:gd name="T44" fmla="*/ 0 w 1120"/>
                <a:gd name="T45" fmla="*/ 108 h 252"/>
                <a:gd name="T46" fmla="*/ 0 w 1120"/>
                <a:gd name="T47" fmla="*/ 26 h 252"/>
                <a:gd name="T48" fmla="*/ 816 w 1120"/>
                <a:gd name="T49" fmla="*/ 0 h 252"/>
                <a:gd name="T50" fmla="*/ 1633 w 1120"/>
                <a:gd name="T51" fmla="*/ 26 h 252"/>
                <a:gd name="T52" fmla="*/ 1633 w 1120"/>
                <a:gd name="T53" fmla="*/ 108 h 252"/>
                <a:gd name="T54" fmla="*/ 1633 w 1120"/>
                <a:gd name="T55" fmla="*/ 108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" name="Rectangle 14"/>
            <p:cNvSpPr>
              <a:spLocks noChangeArrowheads="1"/>
            </p:cNvSpPr>
            <p:nvPr/>
          </p:nvSpPr>
          <p:spPr bwMode="auto">
            <a:xfrm>
              <a:off x="0" y="708"/>
              <a:ext cx="1440" cy="3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charset="0"/>
                  <a:cs typeface="Arial" charset="0"/>
                </a:rPr>
                <a:t>可视化展现</a:t>
              </a:r>
              <a:endPara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60541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48" y="1374642"/>
            <a:ext cx="8001056" cy="484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5" name="Group 13"/>
          <p:cNvGrpSpPr>
            <a:grpSpLocks/>
          </p:cNvGrpSpPr>
          <p:nvPr/>
        </p:nvGrpSpPr>
        <p:grpSpPr bwMode="auto">
          <a:xfrm>
            <a:off x="714348" y="857232"/>
            <a:ext cx="1724025" cy="493712"/>
            <a:chOff x="0" y="708"/>
            <a:chExt cx="1440" cy="458"/>
          </a:xfrm>
        </p:grpSpPr>
        <p:sp>
          <p:nvSpPr>
            <p:cNvPr id="6" name="Freeform 13"/>
            <p:cNvSpPr>
              <a:spLocks noChangeArrowheads="1"/>
            </p:cNvSpPr>
            <p:nvPr/>
          </p:nvSpPr>
          <p:spPr bwMode="auto">
            <a:xfrm>
              <a:off x="60" y="976"/>
              <a:ext cx="1270" cy="190"/>
            </a:xfrm>
            <a:custGeom>
              <a:avLst/>
              <a:gdLst>
                <a:gd name="T0" fmla="*/ 1633 w 1120"/>
                <a:gd name="T1" fmla="*/ 108 h 252"/>
                <a:gd name="T2" fmla="*/ 1626 w 1120"/>
                <a:gd name="T3" fmla="*/ 107 h 252"/>
                <a:gd name="T4" fmla="*/ 1603 w 1120"/>
                <a:gd name="T5" fmla="*/ 105 h 252"/>
                <a:gd name="T6" fmla="*/ 1566 w 1120"/>
                <a:gd name="T7" fmla="*/ 103 h 252"/>
                <a:gd name="T8" fmla="*/ 1514 w 1120"/>
                <a:gd name="T9" fmla="*/ 100 h 252"/>
                <a:gd name="T10" fmla="*/ 1447 w 1120"/>
                <a:gd name="T11" fmla="*/ 95 h 252"/>
                <a:gd name="T12" fmla="*/ 1369 w 1120"/>
                <a:gd name="T13" fmla="*/ 91 h 252"/>
                <a:gd name="T14" fmla="*/ 1277 w 1120"/>
                <a:gd name="T15" fmla="*/ 87 h 252"/>
                <a:gd name="T16" fmla="*/ 1175 w 1120"/>
                <a:gd name="T17" fmla="*/ 84 h 252"/>
                <a:gd name="T18" fmla="*/ 1065 w 1120"/>
                <a:gd name="T19" fmla="*/ 81 h 252"/>
                <a:gd name="T20" fmla="*/ 942 w 1120"/>
                <a:gd name="T21" fmla="*/ 79 h 252"/>
                <a:gd name="T22" fmla="*/ 810 w 1120"/>
                <a:gd name="T23" fmla="*/ 79 h 252"/>
                <a:gd name="T24" fmla="*/ 679 w 1120"/>
                <a:gd name="T25" fmla="*/ 79 h 252"/>
                <a:gd name="T26" fmla="*/ 559 w 1120"/>
                <a:gd name="T27" fmla="*/ 81 h 252"/>
                <a:gd name="T28" fmla="*/ 449 w 1120"/>
                <a:gd name="T29" fmla="*/ 84 h 252"/>
                <a:gd name="T30" fmla="*/ 347 w 1120"/>
                <a:gd name="T31" fmla="*/ 87 h 252"/>
                <a:gd name="T32" fmla="*/ 260 w 1120"/>
                <a:gd name="T33" fmla="*/ 91 h 252"/>
                <a:gd name="T34" fmla="*/ 184 w 1120"/>
                <a:gd name="T35" fmla="*/ 95 h 252"/>
                <a:gd name="T36" fmla="*/ 119 w 1120"/>
                <a:gd name="T37" fmla="*/ 100 h 252"/>
                <a:gd name="T38" fmla="*/ 67 w 1120"/>
                <a:gd name="T39" fmla="*/ 103 h 252"/>
                <a:gd name="T40" fmla="*/ 29 w 1120"/>
                <a:gd name="T41" fmla="*/ 105 h 252"/>
                <a:gd name="T42" fmla="*/ 9 w 1120"/>
                <a:gd name="T43" fmla="*/ 107 h 252"/>
                <a:gd name="T44" fmla="*/ 0 w 1120"/>
                <a:gd name="T45" fmla="*/ 108 h 252"/>
                <a:gd name="T46" fmla="*/ 0 w 1120"/>
                <a:gd name="T47" fmla="*/ 26 h 252"/>
                <a:gd name="T48" fmla="*/ 816 w 1120"/>
                <a:gd name="T49" fmla="*/ 0 h 252"/>
                <a:gd name="T50" fmla="*/ 1633 w 1120"/>
                <a:gd name="T51" fmla="*/ 26 h 252"/>
                <a:gd name="T52" fmla="*/ 1633 w 1120"/>
                <a:gd name="T53" fmla="*/ 108 h 252"/>
                <a:gd name="T54" fmla="*/ 1633 w 1120"/>
                <a:gd name="T55" fmla="*/ 108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" name="Rectangle 14"/>
            <p:cNvSpPr>
              <a:spLocks noChangeArrowheads="1"/>
            </p:cNvSpPr>
            <p:nvPr/>
          </p:nvSpPr>
          <p:spPr bwMode="auto">
            <a:xfrm>
              <a:off x="0" y="708"/>
              <a:ext cx="1440" cy="3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charset="0"/>
                  <a:cs typeface="Arial" charset="0"/>
                </a:rPr>
                <a:t>可视化展现</a:t>
              </a:r>
              <a:endPara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60541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48" y="1398982"/>
            <a:ext cx="7929618" cy="4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714348" y="857232"/>
            <a:ext cx="1724025" cy="493712"/>
            <a:chOff x="0" y="708"/>
            <a:chExt cx="1440" cy="458"/>
          </a:xfrm>
        </p:grpSpPr>
        <p:sp>
          <p:nvSpPr>
            <p:cNvPr id="5" name="Freeform 13"/>
            <p:cNvSpPr>
              <a:spLocks noChangeArrowheads="1"/>
            </p:cNvSpPr>
            <p:nvPr/>
          </p:nvSpPr>
          <p:spPr bwMode="auto">
            <a:xfrm>
              <a:off x="60" y="976"/>
              <a:ext cx="1270" cy="190"/>
            </a:xfrm>
            <a:custGeom>
              <a:avLst/>
              <a:gdLst>
                <a:gd name="T0" fmla="*/ 1633 w 1120"/>
                <a:gd name="T1" fmla="*/ 108 h 252"/>
                <a:gd name="T2" fmla="*/ 1626 w 1120"/>
                <a:gd name="T3" fmla="*/ 107 h 252"/>
                <a:gd name="T4" fmla="*/ 1603 w 1120"/>
                <a:gd name="T5" fmla="*/ 105 h 252"/>
                <a:gd name="T6" fmla="*/ 1566 w 1120"/>
                <a:gd name="T7" fmla="*/ 103 h 252"/>
                <a:gd name="T8" fmla="*/ 1514 w 1120"/>
                <a:gd name="T9" fmla="*/ 100 h 252"/>
                <a:gd name="T10" fmla="*/ 1447 w 1120"/>
                <a:gd name="T11" fmla="*/ 95 h 252"/>
                <a:gd name="T12" fmla="*/ 1369 w 1120"/>
                <a:gd name="T13" fmla="*/ 91 h 252"/>
                <a:gd name="T14" fmla="*/ 1277 w 1120"/>
                <a:gd name="T15" fmla="*/ 87 h 252"/>
                <a:gd name="T16" fmla="*/ 1175 w 1120"/>
                <a:gd name="T17" fmla="*/ 84 h 252"/>
                <a:gd name="T18" fmla="*/ 1065 w 1120"/>
                <a:gd name="T19" fmla="*/ 81 h 252"/>
                <a:gd name="T20" fmla="*/ 942 w 1120"/>
                <a:gd name="T21" fmla="*/ 79 h 252"/>
                <a:gd name="T22" fmla="*/ 810 w 1120"/>
                <a:gd name="T23" fmla="*/ 79 h 252"/>
                <a:gd name="T24" fmla="*/ 679 w 1120"/>
                <a:gd name="T25" fmla="*/ 79 h 252"/>
                <a:gd name="T26" fmla="*/ 559 w 1120"/>
                <a:gd name="T27" fmla="*/ 81 h 252"/>
                <a:gd name="T28" fmla="*/ 449 w 1120"/>
                <a:gd name="T29" fmla="*/ 84 h 252"/>
                <a:gd name="T30" fmla="*/ 347 w 1120"/>
                <a:gd name="T31" fmla="*/ 87 h 252"/>
                <a:gd name="T32" fmla="*/ 260 w 1120"/>
                <a:gd name="T33" fmla="*/ 91 h 252"/>
                <a:gd name="T34" fmla="*/ 184 w 1120"/>
                <a:gd name="T35" fmla="*/ 95 h 252"/>
                <a:gd name="T36" fmla="*/ 119 w 1120"/>
                <a:gd name="T37" fmla="*/ 100 h 252"/>
                <a:gd name="T38" fmla="*/ 67 w 1120"/>
                <a:gd name="T39" fmla="*/ 103 h 252"/>
                <a:gd name="T40" fmla="*/ 29 w 1120"/>
                <a:gd name="T41" fmla="*/ 105 h 252"/>
                <a:gd name="T42" fmla="*/ 9 w 1120"/>
                <a:gd name="T43" fmla="*/ 107 h 252"/>
                <a:gd name="T44" fmla="*/ 0 w 1120"/>
                <a:gd name="T45" fmla="*/ 108 h 252"/>
                <a:gd name="T46" fmla="*/ 0 w 1120"/>
                <a:gd name="T47" fmla="*/ 26 h 252"/>
                <a:gd name="T48" fmla="*/ 816 w 1120"/>
                <a:gd name="T49" fmla="*/ 0 h 252"/>
                <a:gd name="T50" fmla="*/ 1633 w 1120"/>
                <a:gd name="T51" fmla="*/ 26 h 252"/>
                <a:gd name="T52" fmla="*/ 1633 w 1120"/>
                <a:gd name="T53" fmla="*/ 108 h 252"/>
                <a:gd name="T54" fmla="*/ 1633 w 1120"/>
                <a:gd name="T55" fmla="*/ 108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" name="Rectangle 14"/>
            <p:cNvSpPr>
              <a:spLocks noChangeArrowheads="1"/>
            </p:cNvSpPr>
            <p:nvPr/>
          </p:nvSpPr>
          <p:spPr bwMode="auto">
            <a:xfrm>
              <a:off x="0" y="708"/>
              <a:ext cx="1440" cy="3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charset="0"/>
                  <a:cs typeface="Arial" charset="0"/>
                </a:rPr>
                <a:t>可视化展现</a:t>
              </a:r>
              <a:endPara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60541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4"/>
          <p:cNvSpPr>
            <a:spLocks noChangeArrowheads="1"/>
          </p:cNvSpPr>
          <p:nvPr/>
        </p:nvSpPr>
        <p:spPr bwMode="auto">
          <a:xfrm rot="2700000">
            <a:off x="3046925" y="2263775"/>
            <a:ext cx="2743200" cy="2743200"/>
          </a:xfrm>
          <a:prstGeom prst="rect">
            <a:avLst/>
          </a:prstGeom>
          <a:solidFill>
            <a:srgbClr val="C0C0C0"/>
          </a:solidFill>
          <a:ln w="25400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251520" y="3068960"/>
            <a:ext cx="1524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buClr>
                <a:srgbClr val="FFFF66"/>
              </a:buClr>
              <a:buFont typeface="Wingdings" pitchFamily="2" charset="2"/>
              <a:buNone/>
            </a:pPr>
            <a:endParaRPr lang="en-US" altLang="zh-CN" sz="1400" dirty="0">
              <a:solidFill>
                <a:srgbClr val="000000"/>
              </a:solidFill>
            </a:endParaRPr>
          </a:p>
        </p:txBody>
      </p:sp>
      <p:sp>
        <p:nvSpPr>
          <p:cNvPr id="23" name="Rectangle 17"/>
          <p:cNvSpPr>
            <a:spLocks noChangeArrowheads="1"/>
          </p:cNvSpPr>
          <p:nvPr/>
        </p:nvSpPr>
        <p:spPr bwMode="black">
          <a:xfrm>
            <a:off x="3367094" y="3068960"/>
            <a:ext cx="21336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24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ooper Black" pitchFamily="18" charset="0"/>
                <a:ea typeface="宋体" charset="-122"/>
                <a:hlinkClick r:id="rId2"/>
              </a:rPr>
              <a:t>WDM</a:t>
            </a:r>
            <a:endParaRPr lang="en-US" altLang="zh-CN" sz="2400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Cooper Black" pitchFamily="18" charset="0"/>
              <a:ea typeface="宋体" charset="-122"/>
            </a:endParaRPr>
          </a:p>
        </p:txBody>
      </p:sp>
      <p:grpSp>
        <p:nvGrpSpPr>
          <p:cNvPr id="24" name="Group 34"/>
          <p:cNvGrpSpPr>
            <a:grpSpLocks/>
          </p:cNvGrpSpPr>
          <p:nvPr/>
        </p:nvGrpSpPr>
        <p:grpSpPr bwMode="auto">
          <a:xfrm>
            <a:off x="3793050" y="1524000"/>
            <a:ext cx="1336675" cy="1346200"/>
            <a:chOff x="2390" y="1358"/>
            <a:chExt cx="842" cy="848"/>
          </a:xfrm>
        </p:grpSpPr>
        <p:sp>
          <p:nvSpPr>
            <p:cNvPr id="25" name="AutoShape 4"/>
            <p:cNvSpPr>
              <a:spLocks noChangeArrowheads="1"/>
            </p:cNvSpPr>
            <p:nvPr/>
          </p:nvSpPr>
          <p:spPr bwMode="gray">
            <a:xfrm>
              <a:off x="2390" y="1358"/>
              <a:ext cx="842" cy="848"/>
            </a:xfrm>
            <a:prstGeom prst="roundRect">
              <a:avLst>
                <a:gd name="adj" fmla="val 13537"/>
              </a:avLst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3810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zh-CN" altLang="zh-CN">
                <a:solidFill>
                  <a:srgbClr val="000000"/>
                </a:solidFill>
              </a:endParaRPr>
            </a:p>
          </p:txBody>
        </p:sp>
        <p:pic>
          <p:nvPicPr>
            <p:cNvPr id="26" name="Picture 26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430" y="1927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27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rot="10800000">
              <a:off x="2881" y="1380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8" name="Group 35"/>
          <p:cNvGrpSpPr>
            <a:grpSpLocks/>
          </p:cNvGrpSpPr>
          <p:nvPr/>
        </p:nvGrpSpPr>
        <p:grpSpPr bwMode="auto">
          <a:xfrm>
            <a:off x="5578988" y="2949575"/>
            <a:ext cx="1339850" cy="1346200"/>
            <a:chOff x="3515" y="2256"/>
            <a:chExt cx="844" cy="848"/>
          </a:xfrm>
        </p:grpSpPr>
        <p:sp>
          <p:nvSpPr>
            <p:cNvPr id="29" name="AutoShape 5"/>
            <p:cNvSpPr>
              <a:spLocks noChangeArrowheads="1"/>
            </p:cNvSpPr>
            <p:nvPr/>
          </p:nvSpPr>
          <p:spPr bwMode="gray">
            <a:xfrm>
              <a:off x="3515" y="2256"/>
              <a:ext cx="844" cy="848"/>
            </a:xfrm>
            <a:prstGeom prst="roundRect">
              <a:avLst>
                <a:gd name="adj" fmla="val 12440"/>
              </a:avLst>
            </a:prstGeom>
            <a:gradFill rotWithShape="0">
              <a:gsLst>
                <a:gs pos="0">
                  <a:schemeClr val="accent2">
                    <a:gamma/>
                    <a:shade val="46275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3810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zh-CN" altLang="zh-CN">
                <a:solidFill>
                  <a:srgbClr val="000000"/>
                </a:solidFill>
              </a:endParaRPr>
            </a:p>
          </p:txBody>
        </p:sp>
        <p:pic>
          <p:nvPicPr>
            <p:cNvPr id="30" name="Picture 28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gray">
            <a:xfrm>
              <a:off x="3544" y="2826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29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gray">
            <a:xfrm rot="10800000">
              <a:off x="4013" y="2273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2" name="Group 36"/>
          <p:cNvGrpSpPr>
            <a:grpSpLocks/>
          </p:cNvGrpSpPr>
          <p:nvPr/>
        </p:nvGrpSpPr>
        <p:grpSpPr bwMode="auto">
          <a:xfrm>
            <a:off x="3761300" y="4465638"/>
            <a:ext cx="1336675" cy="1346200"/>
            <a:chOff x="2370" y="3211"/>
            <a:chExt cx="842" cy="848"/>
          </a:xfrm>
        </p:grpSpPr>
        <p:sp>
          <p:nvSpPr>
            <p:cNvPr id="33" name="AutoShape 7"/>
            <p:cNvSpPr>
              <a:spLocks noChangeArrowheads="1"/>
            </p:cNvSpPr>
            <p:nvPr/>
          </p:nvSpPr>
          <p:spPr bwMode="gray">
            <a:xfrm>
              <a:off x="2370" y="3211"/>
              <a:ext cx="842" cy="848"/>
            </a:xfrm>
            <a:prstGeom prst="roundRect">
              <a:avLst>
                <a:gd name="adj" fmla="val 13537"/>
              </a:avLst>
            </a:prstGeom>
            <a:gradFill rotWithShape="1">
              <a:gsLst>
                <a:gs pos="0">
                  <a:schemeClr val="hlink">
                    <a:gamma/>
                    <a:shade val="46275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3810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zh-CN" altLang="zh-CN">
                <a:solidFill>
                  <a:srgbClr val="000000"/>
                </a:solidFill>
              </a:endParaRPr>
            </a:p>
          </p:txBody>
        </p:sp>
        <p:pic>
          <p:nvPicPr>
            <p:cNvPr id="34" name="Picture 30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gray">
            <a:xfrm>
              <a:off x="2406" y="3781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Picture 31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gray">
            <a:xfrm rot="10800000">
              <a:off x="2863" y="3228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6" name="Group 37"/>
          <p:cNvGrpSpPr>
            <a:grpSpLocks/>
          </p:cNvGrpSpPr>
          <p:nvPr/>
        </p:nvGrpSpPr>
        <p:grpSpPr bwMode="auto">
          <a:xfrm>
            <a:off x="1899163" y="2938463"/>
            <a:ext cx="1336675" cy="1346200"/>
            <a:chOff x="1197" y="2249"/>
            <a:chExt cx="842" cy="848"/>
          </a:xfrm>
        </p:grpSpPr>
        <p:sp>
          <p:nvSpPr>
            <p:cNvPr id="37" name="AutoShape 6"/>
            <p:cNvSpPr>
              <a:spLocks noChangeArrowheads="1"/>
            </p:cNvSpPr>
            <p:nvPr/>
          </p:nvSpPr>
          <p:spPr bwMode="gray">
            <a:xfrm>
              <a:off x="1197" y="2249"/>
              <a:ext cx="842" cy="848"/>
            </a:xfrm>
            <a:prstGeom prst="roundRect">
              <a:avLst>
                <a:gd name="adj" fmla="val 11875"/>
              </a:avLst>
            </a:prstGeom>
            <a:gradFill rotWithShape="1">
              <a:gsLst>
                <a:gs pos="0">
                  <a:srgbClr val="003263"/>
                </a:gs>
                <a:gs pos="50000">
                  <a:srgbClr val="006BD6"/>
                </a:gs>
                <a:gs pos="100000">
                  <a:srgbClr val="003263"/>
                </a:gs>
              </a:gsLst>
              <a:lin ang="2700000" scaled="1"/>
            </a:gradFill>
            <a:ln w="38100">
              <a:solidFill>
                <a:srgbClr val="EAEAEA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zh-CN">
                <a:solidFill>
                  <a:srgbClr val="000000"/>
                </a:solidFill>
              </a:endParaRPr>
            </a:p>
          </p:txBody>
        </p:sp>
        <p:pic>
          <p:nvPicPr>
            <p:cNvPr id="38" name="Picture 32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224" y="2832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33" descr="Picture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rot="10800000">
              <a:off x="1687" y="2267"/>
              <a:ext cx="309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0" name="Rectangle 9"/>
          <p:cNvSpPr>
            <a:spLocks noChangeArrowheads="1"/>
          </p:cNvSpPr>
          <p:nvPr/>
        </p:nvSpPr>
        <p:spPr bwMode="white">
          <a:xfrm>
            <a:off x="1890382" y="3419708"/>
            <a:ext cx="129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80808">
                <a:alpha val="50000"/>
              </a:srgbClr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dirty="0" smtClean="0">
                <a:solidFill>
                  <a:srgbClr val="FEFEFE"/>
                </a:solidFill>
              </a:rPr>
              <a:t>渠道</a:t>
            </a:r>
            <a:r>
              <a:rPr lang="en-US" altLang="zh-CN" dirty="0" smtClean="0">
                <a:solidFill>
                  <a:srgbClr val="FEFEFE"/>
                </a:solidFill>
              </a:rPr>
              <a:t>&amp;</a:t>
            </a:r>
            <a:r>
              <a:rPr lang="zh-CN" altLang="en-US" dirty="0" smtClean="0">
                <a:solidFill>
                  <a:srgbClr val="FEFEFE"/>
                </a:solidFill>
              </a:rPr>
              <a:t>路径</a:t>
            </a:r>
            <a:endParaRPr lang="en-US" dirty="0">
              <a:solidFill>
                <a:srgbClr val="FEFEFE"/>
              </a:solidFill>
            </a:endParaRPr>
          </a:p>
        </p:txBody>
      </p:sp>
      <p:sp>
        <p:nvSpPr>
          <p:cNvPr id="41" name="Rectangle 10"/>
          <p:cNvSpPr>
            <a:spLocks noChangeArrowheads="1"/>
          </p:cNvSpPr>
          <p:nvPr/>
        </p:nvSpPr>
        <p:spPr bwMode="white">
          <a:xfrm>
            <a:off x="5634054" y="3419708"/>
            <a:ext cx="129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80808">
                <a:alpha val="50000"/>
              </a:srgbClr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dirty="0" smtClean="0">
                <a:solidFill>
                  <a:srgbClr val="FEFEFE"/>
                </a:solidFill>
              </a:rPr>
              <a:t>终端</a:t>
            </a:r>
            <a:r>
              <a:rPr lang="en-US" altLang="zh-CN" dirty="0" smtClean="0">
                <a:solidFill>
                  <a:srgbClr val="FEFEFE"/>
                </a:solidFill>
              </a:rPr>
              <a:t>&amp;</a:t>
            </a:r>
            <a:r>
              <a:rPr lang="zh-CN" altLang="en-US" dirty="0" smtClean="0">
                <a:solidFill>
                  <a:srgbClr val="FEFEFE"/>
                </a:solidFill>
              </a:rPr>
              <a:t>网络</a:t>
            </a:r>
            <a:endParaRPr lang="en-US" dirty="0">
              <a:solidFill>
                <a:srgbClr val="FEFEFE"/>
              </a:solidFill>
            </a:endParaRPr>
          </a:p>
        </p:txBody>
      </p:sp>
      <p:sp>
        <p:nvSpPr>
          <p:cNvPr id="42" name="Rectangle 8"/>
          <p:cNvSpPr>
            <a:spLocks noChangeArrowheads="1"/>
          </p:cNvSpPr>
          <p:nvPr/>
        </p:nvSpPr>
        <p:spPr bwMode="white">
          <a:xfrm>
            <a:off x="3794638" y="1979548"/>
            <a:ext cx="129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80808">
                <a:alpha val="50000"/>
              </a:srgbClr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dirty="0" smtClean="0">
                <a:solidFill>
                  <a:srgbClr val="FEFEFE"/>
                </a:solidFill>
              </a:rPr>
              <a:t>用户行为</a:t>
            </a:r>
            <a:endParaRPr lang="en-US" dirty="0">
              <a:solidFill>
                <a:srgbClr val="FEFEFE"/>
              </a:solidFill>
            </a:endParaRPr>
          </a:p>
        </p:txBody>
      </p:sp>
      <p:sp>
        <p:nvSpPr>
          <p:cNvPr id="43" name="Rectangle 11"/>
          <p:cNvSpPr>
            <a:spLocks noChangeArrowheads="1"/>
          </p:cNvSpPr>
          <p:nvPr/>
        </p:nvSpPr>
        <p:spPr bwMode="white">
          <a:xfrm>
            <a:off x="3794638" y="4931876"/>
            <a:ext cx="129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80808">
                <a:alpha val="50000"/>
              </a:srgbClr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dirty="0" smtClean="0">
                <a:solidFill>
                  <a:srgbClr val="FEFEFE"/>
                </a:solidFill>
              </a:rPr>
              <a:t>成交统计</a:t>
            </a:r>
            <a:endParaRPr lang="en-US" dirty="0">
              <a:solidFill>
                <a:srgbClr val="FEFEFE"/>
              </a:solidFill>
            </a:endParaRPr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black">
          <a:xfrm>
            <a:off x="3473244" y="3573016"/>
            <a:ext cx="1956012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微软雅黑"/>
                <a:ea typeface="微软雅黑"/>
                <a:cs typeface="微软雅黑"/>
              </a:rPr>
              <a:t>最有商业价值的数据服务</a:t>
            </a:r>
            <a:endParaRPr lang="en-US" altLang="zh-CN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1923278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49104" y="571480"/>
            <a:ext cx="9193136" cy="6424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内容占位符 3"/>
          <p:cNvSpPr txBox="1">
            <a:spLocks/>
          </p:cNvSpPr>
          <p:nvPr/>
        </p:nvSpPr>
        <p:spPr bwMode="auto">
          <a:xfrm>
            <a:off x="357158" y="1500174"/>
            <a:ext cx="5214974" cy="2286016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normAutofit fontScale="6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altLang="zh-CN" sz="2800" i="0" u="none" strike="noStrike" kern="120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Who am I</a:t>
            </a:r>
            <a:r>
              <a:rPr kumimoji="0" lang="zh-CN" altLang="en-US" sz="2800" i="0" u="none" strike="noStrike" kern="120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？</a:t>
            </a:r>
            <a:endParaRPr kumimoji="0" lang="en-US" altLang="zh-CN" sz="2800" i="0" u="none" strike="noStrike" kern="1200" normalizeH="0" baseline="0" noProof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en-US" altLang="zh-CN" sz="2800" i="0" u="none" strike="noStrike" kern="1200" normalizeH="0" baseline="0" noProof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lvl="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kumimoji="0" lang="zh-CN" altLang="en-US" sz="2000" i="0" u="none" strike="noStrike" kern="120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 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宁海元</a:t>
            </a:r>
            <a:r>
              <a:rPr lang="en-US" altLang="zh-CN" sz="2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江枫  </a:t>
            </a:r>
            <a:r>
              <a:rPr lang="en-US" altLang="zh-CN" sz="2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@</a:t>
            </a:r>
            <a:r>
              <a:rPr lang="en-US" altLang="zh-CN" sz="2600" dirty="0" err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NinGoo</a:t>
            </a:r>
            <a:endParaRPr kumimoji="0" lang="en-US" altLang="zh-CN" sz="2600" i="0" u="none" strike="noStrike" kern="1200" normalizeH="0" baseline="0" noProof="0" dirty="0" smtClean="0">
              <a:solidFill>
                <a:schemeClr val="bg1"/>
              </a:solidFill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zh-CN" sz="2600" i="0" u="none" strike="noStrike" kern="1200" normalizeH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2003</a:t>
            </a:r>
            <a:r>
              <a:rPr kumimoji="0" lang="zh-CN" altLang="en-US" sz="2600" i="0" u="none" strike="noStrike" kern="1200" normalizeH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年毕业，做了九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年</a:t>
            </a:r>
            <a:r>
              <a:rPr kumimoji="0" lang="en-US" altLang="zh-CN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DBA/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一年无线数据</a:t>
            </a:r>
            <a:endParaRPr kumimoji="0" lang="en-US" altLang="zh-CN" sz="2600" i="0" u="none" strike="noStrike" kern="1200" normalizeH="0" baseline="0" noProof="0" dirty="0" smtClean="0">
              <a:solidFill>
                <a:schemeClr val="bg1"/>
              </a:solidFill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zh-CN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2007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年淘宝，目前在</a:t>
            </a:r>
            <a:r>
              <a:rPr lang="zh-CN" altLang="en-US" sz="2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无线事业部</a:t>
            </a:r>
            <a:r>
              <a:rPr lang="en-US" altLang="zh-CN" sz="2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无线数据团队</a:t>
            </a:r>
            <a:endParaRPr kumimoji="0" lang="en-US" altLang="zh-CN" sz="2600" i="0" u="none" strike="noStrike" kern="1200" normalizeH="0" baseline="0" noProof="0" dirty="0" smtClean="0">
              <a:solidFill>
                <a:schemeClr val="bg1"/>
              </a:solidFill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zh-CN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 《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高性能</a:t>
            </a:r>
            <a:r>
              <a:rPr kumimoji="0" lang="en-US" altLang="zh-CN" sz="2600" i="0" u="none" strike="noStrike" kern="1200" normalizeH="0" baseline="0" noProof="0" dirty="0" err="1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MySQL</a:t>
            </a:r>
            <a:r>
              <a:rPr kumimoji="0" lang="en-US" altLang="zh-CN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》</a:t>
            </a:r>
            <a:r>
              <a:rPr kumimoji="0" lang="zh-CN" altLang="en-US" sz="2600" i="0" u="none" strike="noStrike" kern="1200" normalizeH="0" baseline="0" noProof="0" dirty="0" smtClean="0">
                <a:solidFill>
                  <a:schemeClr val="bg1"/>
                </a:solidFill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第三版中文译者之一</a:t>
            </a:r>
            <a:endParaRPr kumimoji="0" lang="en-US" altLang="zh-CN" sz="2600" i="0" u="none" strike="noStrike" kern="1200" normalizeH="0" baseline="0" noProof="0" dirty="0" smtClean="0">
              <a:solidFill>
                <a:schemeClr val="bg1"/>
              </a:solidFill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altLang="zh-CN" sz="2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jiangfeng@taobao.com</a:t>
            </a:r>
            <a:endParaRPr kumimoji="0" lang="en-US" altLang="zh-CN" sz="2600" i="0" u="none" strike="noStrike" kern="1200" normalizeH="0" baseline="0" noProof="0" dirty="0" smtClean="0">
              <a:solidFill>
                <a:schemeClr val="bg1"/>
              </a:solidFill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30"/>
          <p:cNvGrpSpPr>
            <a:grpSpLocks/>
          </p:cNvGrpSpPr>
          <p:nvPr/>
        </p:nvGrpSpPr>
        <p:grpSpPr bwMode="auto">
          <a:xfrm>
            <a:off x="539552" y="1340768"/>
            <a:ext cx="8028558" cy="5109846"/>
            <a:chOff x="748" y="890"/>
            <a:chExt cx="4173" cy="2676"/>
          </a:xfrm>
        </p:grpSpPr>
        <p:sp>
          <p:nvSpPr>
            <p:cNvPr id="6" name="Rectangle 889"/>
            <p:cNvSpPr>
              <a:spLocks noChangeArrowheads="1"/>
            </p:cNvSpPr>
            <p:nvPr/>
          </p:nvSpPr>
          <p:spPr bwMode="auto">
            <a:xfrm>
              <a:off x="748" y="1229"/>
              <a:ext cx="1270" cy="2214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EDE5CF"/>
                </a:gs>
              </a:gsLst>
              <a:lin ang="2700000" scaled="1"/>
            </a:gradFill>
            <a:ln>
              <a:noFill/>
            </a:ln>
            <a:effectLst/>
            <a:scene3d>
              <a:camera prst="legacyObliqueBottom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757575"/>
              </a:extrusion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9" name="Rectangle 897"/>
            <p:cNvSpPr>
              <a:spLocks noChangeArrowheads="1"/>
            </p:cNvSpPr>
            <p:nvPr/>
          </p:nvSpPr>
          <p:spPr bwMode="auto">
            <a:xfrm>
              <a:off x="2200" y="1229"/>
              <a:ext cx="1270" cy="2214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EDE5CF"/>
                </a:gs>
              </a:gsLst>
              <a:lin ang="2700000" scaled="1"/>
            </a:gradFill>
            <a:ln>
              <a:noFill/>
            </a:ln>
            <a:effectLst/>
            <a:scene3d>
              <a:camera prst="legacyObliqueBottom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757575"/>
              </a:extrusion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10" name="Rectangle 898"/>
            <p:cNvSpPr>
              <a:spLocks noChangeArrowheads="1"/>
            </p:cNvSpPr>
            <p:nvPr/>
          </p:nvSpPr>
          <p:spPr bwMode="auto">
            <a:xfrm>
              <a:off x="3651" y="1267"/>
              <a:ext cx="1270" cy="2176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EDE5CF"/>
                </a:gs>
              </a:gsLst>
              <a:lin ang="2700000" scaled="1"/>
            </a:gradFill>
            <a:ln>
              <a:noFill/>
            </a:ln>
            <a:effectLst/>
            <a:scene3d>
              <a:camera prst="legacyObliqueBottomRight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rgbClr val="757575"/>
              </a:extrusion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12" name="Text Box 902"/>
            <p:cNvSpPr txBox="1">
              <a:spLocks noChangeArrowheads="1"/>
            </p:cNvSpPr>
            <p:nvPr/>
          </p:nvSpPr>
          <p:spPr bwMode="auto">
            <a:xfrm>
              <a:off x="2336" y="890"/>
              <a:ext cx="998" cy="3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en-US" altLang="ko-KR" sz="3200" b="1" dirty="0">
                  <a:solidFill>
                    <a:schemeClr val="bg1"/>
                  </a:solidFill>
                  <a:latin typeface="Arial Black" pitchFamily="34" charset="0"/>
                </a:rPr>
                <a:t>TITLE</a:t>
              </a:r>
            </a:p>
            <a:p>
              <a:pPr>
                <a:lnSpc>
                  <a:spcPct val="70000"/>
                </a:lnSpc>
              </a:pPr>
              <a:r>
                <a:rPr lang="en-US" altLang="ko-KR" sz="1400" b="1" dirty="0">
                  <a:solidFill>
                    <a:schemeClr val="bg1"/>
                  </a:solidFill>
                  <a:latin typeface="Arial" charset="0"/>
                </a:rPr>
                <a:t>Click to add text</a:t>
              </a:r>
            </a:p>
          </p:txBody>
        </p:sp>
        <p:sp>
          <p:nvSpPr>
            <p:cNvPr id="13" name="Text Box 903"/>
            <p:cNvSpPr txBox="1">
              <a:spLocks noChangeArrowheads="1"/>
            </p:cNvSpPr>
            <p:nvPr/>
          </p:nvSpPr>
          <p:spPr bwMode="auto">
            <a:xfrm>
              <a:off x="3787" y="890"/>
              <a:ext cx="998" cy="3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en-US" altLang="ko-KR" sz="3200" b="1" dirty="0">
                  <a:solidFill>
                    <a:schemeClr val="bg1"/>
                  </a:solidFill>
                  <a:latin typeface="Arial Black" pitchFamily="34" charset="0"/>
                </a:rPr>
                <a:t>TITLE</a:t>
              </a:r>
            </a:p>
            <a:p>
              <a:pPr>
                <a:lnSpc>
                  <a:spcPct val="70000"/>
                </a:lnSpc>
              </a:pPr>
              <a:r>
                <a:rPr lang="en-US" altLang="ko-KR" sz="1400" b="1" dirty="0">
                  <a:solidFill>
                    <a:schemeClr val="bg1"/>
                  </a:solidFill>
                  <a:latin typeface="Arial" charset="0"/>
                </a:rPr>
                <a:t>Click to add text</a:t>
              </a:r>
            </a:p>
          </p:txBody>
        </p:sp>
        <p:sp>
          <p:nvSpPr>
            <p:cNvPr id="14" name="Text Box 904"/>
            <p:cNvSpPr txBox="1">
              <a:spLocks noChangeArrowheads="1"/>
            </p:cNvSpPr>
            <p:nvPr/>
          </p:nvSpPr>
          <p:spPr bwMode="auto">
            <a:xfrm>
              <a:off x="765" y="1331"/>
              <a:ext cx="1186" cy="19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342900" indent="-342900" algn="l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800100" indent="-342900" algn="l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257300" indent="-342900" algn="l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714500" indent="-342900" algn="l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171700" indent="-342900" algn="l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628900" indent="-342900" fontAlgn="base" latinLnBrk="1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3086100" indent="-342900" fontAlgn="base" latinLnBrk="1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543300" indent="-342900" fontAlgn="base" latinLnBrk="1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4000500" indent="-342900" fontAlgn="base" latinLnBrk="1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en-US" altLang="zh-CN" sz="1400" dirty="0">
                  <a:latin typeface="微软雅黑"/>
                  <a:ea typeface="微软雅黑"/>
                  <a:cs typeface="微软雅黑"/>
                </a:rPr>
                <a:t>2008</a:t>
              </a:r>
              <a:r>
                <a:rPr lang="zh-CN" altLang="en-US" sz="1400" dirty="0">
                  <a:latin typeface="微软雅黑"/>
                  <a:ea typeface="微软雅黑"/>
                  <a:cs typeface="微软雅黑"/>
                </a:rPr>
                <a:t>年进入市场</a:t>
              </a:r>
              <a:endParaRPr lang="en-US" altLang="zh-CN" sz="1400" dirty="0">
                <a:latin typeface="微软雅黑"/>
                <a:ea typeface="微软雅黑"/>
                <a:cs typeface="微软雅黑"/>
              </a:endParaRPr>
            </a:p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2012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年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4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月，覆盖约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17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万应用，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5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亿设备，日会话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12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亿</a:t>
              </a:r>
              <a:endParaRPr lang="en-US" altLang="zh-CN" sz="1400" dirty="0" smtClean="0">
                <a:latin typeface="微软雅黑"/>
                <a:ea typeface="微软雅黑"/>
                <a:cs typeface="微软雅黑"/>
              </a:endParaRPr>
            </a:p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目前覆盖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27.5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万应用，日会话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24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亿</a:t>
              </a:r>
              <a:endParaRPr lang="en-US" altLang="zh-CN" sz="1400" dirty="0" smtClean="0">
                <a:latin typeface="微软雅黑"/>
                <a:ea typeface="微软雅黑"/>
                <a:cs typeface="微软雅黑"/>
              </a:endParaRPr>
            </a:p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全平台支持，包括</a:t>
              </a:r>
              <a:r>
                <a:rPr lang="en-US" altLang="zh-CN" sz="1400" dirty="0" err="1" smtClean="0">
                  <a:latin typeface="微软雅黑"/>
                  <a:ea typeface="微软雅黑"/>
                  <a:cs typeface="微软雅黑"/>
                </a:rPr>
                <a:t>iOS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, Android, WP, HTML5, BlackBerry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和</a:t>
              </a:r>
              <a:r>
                <a:rPr lang="en-US" altLang="zh-CN" sz="1400" dirty="0" err="1" smtClean="0">
                  <a:latin typeface="微软雅黑"/>
                  <a:ea typeface="微软雅黑"/>
                  <a:cs typeface="微软雅黑"/>
                </a:rPr>
                <a:t>JavaME</a:t>
              </a:r>
              <a:endParaRPr lang="en-US" altLang="zh-CN" sz="1400" dirty="0" smtClean="0">
                <a:latin typeface="微软雅黑"/>
                <a:ea typeface="微软雅黑"/>
                <a:cs typeface="微软雅黑"/>
              </a:endParaRPr>
            </a:p>
            <a:p>
              <a:pPr>
                <a:lnSpc>
                  <a:spcPct val="150000"/>
                </a:lnSpc>
                <a:buFont typeface="Wingdings" pitchFamily="2" charset="2"/>
                <a:buChar char="ü"/>
              </a:pP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截止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2012.4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，三轮融资，超过</a:t>
              </a:r>
              <a:r>
                <a:rPr lang="en-US" altLang="zh-CN" sz="1400" dirty="0" smtClean="0">
                  <a:latin typeface="微软雅黑"/>
                  <a:ea typeface="微软雅黑"/>
                  <a:cs typeface="微软雅黑"/>
                </a:rPr>
                <a:t>2500</a:t>
              </a:r>
              <a:r>
                <a:rPr lang="zh-CN" altLang="en-US" sz="1400" dirty="0" smtClean="0">
                  <a:latin typeface="微软雅黑"/>
                  <a:ea typeface="微软雅黑"/>
                  <a:cs typeface="微软雅黑"/>
                </a:rPr>
                <a:t>万美</a:t>
              </a:r>
              <a:endParaRPr lang="en-US" altLang="ko-KR" sz="1400" b="1" dirty="0">
                <a:latin typeface="微软雅黑"/>
                <a:ea typeface="微软雅黑"/>
                <a:cs typeface="微软雅黑"/>
              </a:endParaRPr>
            </a:p>
          </p:txBody>
        </p:sp>
        <p:grpSp>
          <p:nvGrpSpPr>
            <p:cNvPr id="17" name="Group 917"/>
            <p:cNvGrpSpPr>
              <a:grpSpLocks/>
            </p:cNvGrpSpPr>
            <p:nvPr/>
          </p:nvGrpSpPr>
          <p:grpSpPr bwMode="auto">
            <a:xfrm>
              <a:off x="748" y="3294"/>
              <a:ext cx="1270" cy="272"/>
              <a:chOff x="748" y="3294"/>
              <a:chExt cx="1270" cy="272"/>
            </a:xfrm>
          </p:grpSpPr>
          <p:sp>
            <p:nvSpPr>
              <p:cNvPr id="29" name="Line 907"/>
              <p:cNvSpPr>
                <a:spLocks noChangeShapeType="1"/>
              </p:cNvSpPr>
              <p:nvPr/>
            </p:nvSpPr>
            <p:spPr bwMode="auto">
              <a:xfrm>
                <a:off x="748" y="3294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30" name="Line 908"/>
              <p:cNvSpPr>
                <a:spLocks noChangeShapeType="1"/>
              </p:cNvSpPr>
              <p:nvPr/>
            </p:nvSpPr>
            <p:spPr bwMode="auto">
              <a:xfrm>
                <a:off x="2018" y="3294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31" name="Line 916"/>
              <p:cNvSpPr>
                <a:spLocks noChangeShapeType="1"/>
              </p:cNvSpPr>
              <p:nvPr/>
            </p:nvSpPr>
            <p:spPr bwMode="auto">
              <a:xfrm>
                <a:off x="748" y="3430"/>
                <a:ext cx="127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18" name="Group 918"/>
            <p:cNvGrpSpPr>
              <a:grpSpLocks/>
            </p:cNvGrpSpPr>
            <p:nvPr/>
          </p:nvGrpSpPr>
          <p:grpSpPr bwMode="auto">
            <a:xfrm>
              <a:off x="2200" y="3294"/>
              <a:ext cx="1270" cy="272"/>
              <a:chOff x="748" y="3294"/>
              <a:chExt cx="1270" cy="272"/>
            </a:xfrm>
          </p:grpSpPr>
          <p:sp>
            <p:nvSpPr>
              <p:cNvPr id="26" name="Line 919"/>
              <p:cNvSpPr>
                <a:spLocks noChangeShapeType="1"/>
              </p:cNvSpPr>
              <p:nvPr/>
            </p:nvSpPr>
            <p:spPr bwMode="auto">
              <a:xfrm>
                <a:off x="748" y="3294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27" name="Line 920"/>
              <p:cNvSpPr>
                <a:spLocks noChangeShapeType="1"/>
              </p:cNvSpPr>
              <p:nvPr/>
            </p:nvSpPr>
            <p:spPr bwMode="auto">
              <a:xfrm>
                <a:off x="2018" y="3294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28" name="Line 921"/>
              <p:cNvSpPr>
                <a:spLocks noChangeShapeType="1"/>
              </p:cNvSpPr>
              <p:nvPr/>
            </p:nvSpPr>
            <p:spPr bwMode="auto">
              <a:xfrm>
                <a:off x="748" y="3430"/>
                <a:ext cx="127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grpSp>
          <p:nvGrpSpPr>
            <p:cNvPr id="19" name="Group 922"/>
            <p:cNvGrpSpPr>
              <a:grpSpLocks/>
            </p:cNvGrpSpPr>
            <p:nvPr/>
          </p:nvGrpSpPr>
          <p:grpSpPr bwMode="auto">
            <a:xfrm>
              <a:off x="3651" y="3294"/>
              <a:ext cx="1270" cy="272"/>
              <a:chOff x="748" y="3294"/>
              <a:chExt cx="1270" cy="272"/>
            </a:xfrm>
          </p:grpSpPr>
          <p:sp>
            <p:nvSpPr>
              <p:cNvPr id="23" name="Line 923"/>
              <p:cNvSpPr>
                <a:spLocks noChangeShapeType="1"/>
              </p:cNvSpPr>
              <p:nvPr/>
            </p:nvSpPr>
            <p:spPr bwMode="auto">
              <a:xfrm>
                <a:off x="748" y="3294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24" name="Line 924"/>
              <p:cNvSpPr>
                <a:spLocks noChangeShapeType="1"/>
              </p:cNvSpPr>
              <p:nvPr/>
            </p:nvSpPr>
            <p:spPr bwMode="auto">
              <a:xfrm>
                <a:off x="2018" y="3294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25" name="Line 925"/>
              <p:cNvSpPr>
                <a:spLocks noChangeShapeType="1"/>
              </p:cNvSpPr>
              <p:nvPr/>
            </p:nvSpPr>
            <p:spPr bwMode="auto">
              <a:xfrm>
                <a:off x="748" y="3430"/>
                <a:ext cx="127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</p:grpSp>
      <p:pic>
        <p:nvPicPr>
          <p:cNvPr id="32" name="Picture 2" descr="http://static.36kr.com/wp-content/uploads/2012/04/flurry_logo.jpg"/>
          <p:cNvPicPr>
            <a:picLocks noChangeAspect="1" noChangeArrowheads="1"/>
          </p:cNvPicPr>
          <p:nvPr/>
        </p:nvPicPr>
        <p:blipFill rotWithShape="1">
          <a:blip r:embed="rId2"/>
          <a:srcRect t="20969" r="-839" b="20581"/>
          <a:stretch/>
        </p:blipFill>
        <p:spPr bwMode="auto">
          <a:xfrm>
            <a:off x="683568" y="980728"/>
            <a:ext cx="2114286" cy="792088"/>
          </a:xfrm>
          <a:prstGeom prst="rect">
            <a:avLst/>
          </a:prstGeom>
          <a:noFill/>
        </p:spPr>
      </p:pic>
      <p:pic>
        <p:nvPicPr>
          <p:cNvPr id="33" name="Picture 2" descr="http://cdn.ifanr.cn/wp-content/uploads/2012/03/umeng_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75856" y="1083568"/>
            <a:ext cx="2483145" cy="617240"/>
          </a:xfrm>
          <a:prstGeom prst="rect">
            <a:avLst/>
          </a:prstGeom>
          <a:noFill/>
        </p:spPr>
      </p:pic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56176" y="1052736"/>
            <a:ext cx="2304255" cy="591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Text Box 904"/>
          <p:cNvSpPr txBox="1">
            <a:spLocks noChangeArrowheads="1"/>
          </p:cNvSpPr>
          <p:nvPr/>
        </p:nvSpPr>
        <p:spPr bwMode="auto">
          <a:xfrm>
            <a:off x="3419851" y="2122978"/>
            <a:ext cx="2160261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8001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2573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7145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1717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6289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30861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5433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40005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2011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年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1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月产品上线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2011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年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7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月获得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1000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万美元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A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轮融资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2012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年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3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月，覆盖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2 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万应用，日活跃用户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4000 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万。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1.6 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亿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设备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目前覆盖约</a:t>
            </a: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10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万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款应用，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每天超过</a:t>
            </a: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10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亿条数据</a:t>
            </a:r>
            <a:endParaRPr lang="en-US" altLang="zh-CN" sz="1400" dirty="0" smtClean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36" name="Text Box 904"/>
          <p:cNvSpPr txBox="1">
            <a:spLocks noChangeArrowheads="1"/>
          </p:cNvSpPr>
          <p:nvPr/>
        </p:nvSpPr>
        <p:spPr bwMode="auto">
          <a:xfrm>
            <a:off x="6143636" y="2132856"/>
            <a:ext cx="2357454" cy="3647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8001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2573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7145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171700" indent="-342900" algn="l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6289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30861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5433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4000500" indent="-342900" fontAlgn="base" latinLnBrk="1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2012.2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上线，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5.29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正式发布，侧重游戏行业</a:t>
            </a: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2012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年底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获得</a:t>
            </a: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A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轮融资</a:t>
            </a: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2013.1.17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发布</a:t>
            </a:r>
            <a:r>
              <a:rPr lang="en-US" altLang="zh-CN" sz="1400" dirty="0" err="1">
                <a:latin typeface="微软雅黑"/>
                <a:ea typeface="微软雅黑"/>
                <a:cs typeface="微软雅黑"/>
              </a:rPr>
              <a:t>TalkingData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 Game Analytics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（收费服务）</a:t>
            </a: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sz="1400" dirty="0" err="1" smtClean="0">
                <a:latin typeface="微软雅黑"/>
                <a:ea typeface="微软雅黑"/>
                <a:cs typeface="微软雅黑"/>
              </a:rPr>
              <a:t>TalkingData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提供的是企业级服务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，</a:t>
            </a:r>
            <a:r>
              <a:rPr lang="en-US" altLang="zh-CN" sz="1400" dirty="0" smtClean="0">
                <a:latin typeface="微软雅黑"/>
                <a:ea typeface="微软雅黑"/>
                <a:cs typeface="微软雅黑"/>
              </a:rPr>
              <a:t>B2B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模式</a:t>
            </a:r>
            <a:endParaRPr lang="zh-CN" altLang="en-US" sz="1400" dirty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覆盖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8000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万设备，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6000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余款应用，</a:t>
            </a:r>
            <a:r>
              <a:rPr lang="en-US" altLang="zh-CN" sz="1400" dirty="0">
                <a:latin typeface="微软雅黑"/>
                <a:ea typeface="微软雅黑"/>
                <a:cs typeface="微软雅黑"/>
              </a:rPr>
              <a:t>1</a:t>
            </a: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亿</a:t>
            </a:r>
            <a:r>
              <a:rPr lang="zh-CN" altLang="en-US" sz="1400" dirty="0" smtClean="0">
                <a:latin typeface="微软雅黑"/>
                <a:ea typeface="微软雅黑"/>
                <a:cs typeface="微软雅黑"/>
              </a:rPr>
              <a:t>用户</a:t>
            </a:r>
            <a:endParaRPr lang="en-US" altLang="ko-KR" sz="1400" b="1" dirty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6360541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gray">
          <a:xfrm>
            <a:off x="879451" y="3506775"/>
            <a:ext cx="7400925" cy="1782762"/>
          </a:xfrm>
          <a:prstGeom prst="rect">
            <a:avLst/>
          </a:prstGeom>
          <a:gradFill rotWithShape="1">
            <a:gsLst>
              <a:gs pos="0">
                <a:srgbClr val="767676"/>
              </a:gs>
              <a:gs pos="50000">
                <a:srgbClr val="FFFFFF"/>
              </a:gs>
              <a:gs pos="100000">
                <a:srgbClr val="767676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PerspectiveTop"/>
            <a:lightRig rig="legacyFlat1" dir="t"/>
          </a:scene3d>
          <a:sp3d extrusionH="121893000" prstMaterial="legacyMatte">
            <a:bevelT w="13500" h="13500" prst="angle"/>
            <a:bevelB w="13500" h="13500" prst="angle"/>
            <a:extrusionClr>
              <a:srgbClr val="FFFFFF"/>
            </a:extrusionClr>
          </a:sp3d>
        </p:spPr>
        <p:txBody>
          <a:bodyPr anchor="ctr">
            <a:spAutoFit/>
            <a:flatTx/>
          </a:bodyPr>
          <a:lstStyle/>
          <a:p>
            <a:endParaRPr lang="zh-CN" altLang="en-US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 flipH="1">
            <a:off x="917551" y="3565512"/>
            <a:ext cx="2436813" cy="1670050"/>
          </a:xfrm>
          <a:prstGeom prst="rect">
            <a:avLst/>
          </a:prstGeom>
          <a:solidFill>
            <a:schemeClr val="hlink">
              <a:alpha val="50195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gray">
          <a:xfrm flipH="1">
            <a:off x="3363889" y="3565512"/>
            <a:ext cx="2436812" cy="1670050"/>
          </a:xfrm>
          <a:prstGeom prst="rect">
            <a:avLst/>
          </a:prstGeom>
          <a:solidFill>
            <a:schemeClr val="accent2">
              <a:alpha val="50195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 flipH="1">
            <a:off x="5802289" y="3563925"/>
            <a:ext cx="2436812" cy="1670050"/>
          </a:xfrm>
          <a:prstGeom prst="rect">
            <a:avLst/>
          </a:prstGeom>
          <a:solidFill>
            <a:schemeClr val="folHlink">
              <a:alpha val="50195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gray">
          <a:xfrm>
            <a:off x="857224" y="4214818"/>
            <a:ext cx="2479675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182326">
                <a:alpha val="50000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无线</a:t>
            </a:r>
            <a:endParaRPr lang="en-US" altLang="zh-CN" sz="2400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  <a:p>
            <a:pPr algn="ctr">
              <a:defRPr/>
            </a:pPr>
            <a:r>
              <a:rPr lang="en-US" altLang="zh-CN" sz="2400" b="1" dirty="0" smtClean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W</a:t>
            </a:r>
            <a:r>
              <a:rPr lang="en-US" altLang="zh-CN" sz="2400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ireless</a:t>
            </a:r>
            <a:endParaRPr lang="en-US" altLang="zh-CN" sz="2400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gray">
          <a:xfrm>
            <a:off x="3325789" y="4214818"/>
            <a:ext cx="2479675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182326">
                <a:alpha val="50000"/>
              </a:srgb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数据</a:t>
            </a:r>
            <a:endParaRPr lang="en-US" altLang="zh-CN" sz="2400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  <a:p>
            <a:pPr algn="ctr">
              <a:defRPr/>
            </a:pPr>
            <a:r>
              <a:rPr lang="en-US" altLang="zh-CN" sz="2400" b="1" dirty="0" smtClean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D</a:t>
            </a:r>
            <a:r>
              <a:rPr lang="en-US" altLang="zh-CN" sz="2400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ata</a:t>
            </a:r>
            <a:endParaRPr lang="en-US" altLang="zh-CN" sz="2400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gray">
          <a:xfrm>
            <a:off x="5643570" y="4186246"/>
            <a:ext cx="2714644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18232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商业价值</a:t>
            </a:r>
            <a:endParaRPr lang="en-US" altLang="zh-CN" sz="2400" b="1" dirty="0" smtClean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  <a:p>
            <a:pPr algn="ctr">
              <a:defRPr/>
            </a:pPr>
            <a:r>
              <a:rPr lang="en-US" altLang="zh-CN" sz="2400" b="1" dirty="0" smtClean="0">
                <a:solidFill>
                  <a:srgbClr val="FF0000"/>
                </a:solidFill>
                <a:latin typeface="微软雅黑"/>
                <a:ea typeface="微软雅黑"/>
                <a:cs typeface="微软雅黑"/>
              </a:rPr>
              <a:t>M</a:t>
            </a:r>
            <a:r>
              <a:rPr lang="en-US" altLang="zh-CN" sz="2400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erchant value</a:t>
            </a:r>
            <a:endParaRPr lang="en-US" altLang="zh-CN" sz="2400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13" name="Picture 13" descr="13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33926" y="1670037"/>
            <a:ext cx="1365250" cy="155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5" descr="24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70601" y="2203437"/>
            <a:ext cx="1095375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6" descr="16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57551" y="1571612"/>
            <a:ext cx="1470025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7" descr="23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260576" y="2014525"/>
            <a:ext cx="1608138" cy="14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1643042" y="5357826"/>
            <a:ext cx="70723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dirty="0" smtClean="0">
                <a:hlinkClick r:id="rId6"/>
              </a:rPr>
              <a:t>http://wdm.taobao.com</a:t>
            </a:r>
            <a:endParaRPr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1095581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1610147" y="2714620"/>
            <a:ext cx="3670176" cy="15001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dobe 黑体 Std R" pitchFamily="34" charset="-122"/>
                <a:ea typeface="Adobe 黑体 Std R" pitchFamily="34" charset="-122"/>
                <a:cs typeface="+mj-cs"/>
              </a:rPr>
              <a:t>Thanks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 smtClean="0">
                <a:solidFill>
                  <a:srgbClr val="333333"/>
                </a:solidFill>
                <a:latin typeface="Adobe 黑体 Std R" pitchFamily="34" charset="-122"/>
                <a:ea typeface="Adobe 黑体 Std R" pitchFamily="34" charset="-122"/>
                <a:cs typeface="+mj-cs"/>
              </a:rPr>
              <a:t>欢迎一起来玩</a:t>
            </a:r>
            <a:endParaRPr lang="en-US" altLang="zh-CN" sz="2800" dirty="0" smtClean="0">
              <a:solidFill>
                <a:srgbClr val="333333"/>
              </a:solidFill>
              <a:latin typeface="Adobe 黑体 Std R" pitchFamily="34" charset="-122"/>
              <a:ea typeface="Adobe 黑体 Std R" pitchFamily="34" charset="-122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 smtClean="0">
                <a:solidFill>
                  <a:srgbClr val="333333"/>
                </a:solidFill>
                <a:latin typeface="Adobe 黑体 Std R" pitchFamily="34" charset="-122"/>
                <a:ea typeface="Adobe 黑体 Std R" pitchFamily="34" charset="-122"/>
                <a:cs typeface="+mj-cs"/>
              </a:rPr>
              <a:t>无线大数据</a:t>
            </a:r>
            <a:endParaRPr kumimoji="0" lang="zh-CN" altLang="en-US" sz="280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dobe 黑体 Std R" pitchFamily="34" charset="-122"/>
              <a:ea typeface="Adobe 黑体 Std R" pitchFamily="34" charset="-122"/>
              <a:cs typeface="+mj-cs"/>
            </a:endParaRPr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1488" y="1357298"/>
            <a:ext cx="8201025" cy="430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1692" y="1357298"/>
            <a:ext cx="8446588" cy="406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800" y="1157288"/>
            <a:ext cx="8645109" cy="5034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5887" y="1100138"/>
            <a:ext cx="8735713" cy="507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2875" y="1219200"/>
            <a:ext cx="885825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6791" y="1128713"/>
            <a:ext cx="8714809" cy="458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3"/>
          <p:cNvSpPr>
            <a:spLocks noGrp="1"/>
          </p:cNvSpPr>
          <p:nvPr>
            <p:ph type="ftr" sz="quarter" idx="4294967295"/>
          </p:nvPr>
        </p:nvSpPr>
        <p:spPr bwMode="auto">
          <a:xfrm>
            <a:off x="7046913" y="6381750"/>
            <a:ext cx="2133600" cy="2444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zh-CN" altLang="en-US">
                <a:solidFill>
                  <a:srgbClr val="000000"/>
                </a:solidFill>
              </a:rPr>
              <a:t>   </a:t>
            </a:r>
          </a:p>
          <a:p>
            <a:r>
              <a:rPr lang="en-US" altLang="zh-CN">
                <a:solidFill>
                  <a:srgbClr val="000000"/>
                </a:solidFill>
              </a:rPr>
              <a:t>   </a:t>
            </a:r>
          </a:p>
        </p:txBody>
      </p:sp>
      <p:sp>
        <p:nvSpPr>
          <p:cNvPr id="3" name="Freeform 2"/>
          <p:cNvSpPr>
            <a:spLocks/>
          </p:cNvSpPr>
          <p:nvPr/>
        </p:nvSpPr>
        <p:spPr bwMode="gray">
          <a:xfrm>
            <a:off x="3805238" y="3615656"/>
            <a:ext cx="1265237" cy="803275"/>
          </a:xfrm>
          <a:custGeom>
            <a:avLst/>
            <a:gdLst>
              <a:gd name="T0" fmla="*/ 2147483647 w 797"/>
              <a:gd name="T1" fmla="*/ 0 h 506"/>
              <a:gd name="T2" fmla="*/ 2147483647 w 797"/>
              <a:gd name="T3" fmla="*/ 2147483647 h 506"/>
              <a:gd name="T4" fmla="*/ 2147483647 w 797"/>
              <a:gd name="T5" fmla="*/ 2147483647 h 506"/>
              <a:gd name="T6" fmla="*/ 2147483647 w 797"/>
              <a:gd name="T7" fmla="*/ 2147483647 h 506"/>
              <a:gd name="T8" fmla="*/ 0 w 797"/>
              <a:gd name="T9" fmla="*/ 2147483647 h 506"/>
              <a:gd name="T10" fmla="*/ 2147483647 w 797"/>
              <a:gd name="T11" fmla="*/ 0 h 50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97"/>
              <a:gd name="T19" fmla="*/ 0 h 506"/>
              <a:gd name="T20" fmla="*/ 797 w 797"/>
              <a:gd name="T21" fmla="*/ 506 h 50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97" h="506">
                <a:moveTo>
                  <a:pt x="390" y="0"/>
                </a:moveTo>
                <a:lnTo>
                  <a:pt x="448" y="64"/>
                </a:lnTo>
                <a:lnTo>
                  <a:pt x="797" y="495"/>
                </a:lnTo>
                <a:lnTo>
                  <a:pt x="390" y="355"/>
                </a:lnTo>
                <a:lnTo>
                  <a:pt x="0" y="506"/>
                </a:lnTo>
                <a:lnTo>
                  <a:pt x="390" y="0"/>
                </a:lnTo>
                <a:close/>
              </a:path>
            </a:pathLst>
          </a:custGeom>
          <a:gradFill rotWithShape="1">
            <a:gsLst>
              <a:gs pos="0">
                <a:srgbClr val="9999FF"/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" name="Freeform 3"/>
          <p:cNvSpPr>
            <a:spLocks/>
          </p:cNvSpPr>
          <p:nvPr/>
        </p:nvSpPr>
        <p:spPr bwMode="gray">
          <a:xfrm>
            <a:off x="4443413" y="2637756"/>
            <a:ext cx="1735137" cy="1117600"/>
          </a:xfrm>
          <a:custGeom>
            <a:avLst/>
            <a:gdLst>
              <a:gd name="T0" fmla="*/ 2147483647 w 1093"/>
              <a:gd name="T1" fmla="*/ 2147483647 h 704"/>
              <a:gd name="T2" fmla="*/ 0 w 1093"/>
              <a:gd name="T3" fmla="*/ 2147483647 h 704"/>
              <a:gd name="T4" fmla="*/ 2147483647 w 1093"/>
              <a:gd name="T5" fmla="*/ 0 h 704"/>
              <a:gd name="T6" fmla="*/ 2147483647 w 1093"/>
              <a:gd name="T7" fmla="*/ 2147483647 h 704"/>
              <a:gd name="T8" fmla="*/ 2147483647 w 1093"/>
              <a:gd name="T9" fmla="*/ 2147483647 h 7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93"/>
              <a:gd name="T16" fmla="*/ 0 h 704"/>
              <a:gd name="T17" fmla="*/ 1093 w 1093"/>
              <a:gd name="T18" fmla="*/ 704 h 70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93" h="704">
                <a:moveTo>
                  <a:pt x="64" y="704"/>
                </a:moveTo>
                <a:lnTo>
                  <a:pt x="0" y="622"/>
                </a:lnTo>
                <a:lnTo>
                  <a:pt x="820" y="0"/>
                </a:lnTo>
                <a:lnTo>
                  <a:pt x="1093" y="453"/>
                </a:lnTo>
                <a:lnTo>
                  <a:pt x="64" y="704"/>
                </a:lnTo>
                <a:close/>
              </a:path>
            </a:pathLst>
          </a:custGeom>
          <a:gradFill rotWithShape="1">
            <a:gsLst>
              <a:gs pos="0">
                <a:srgbClr val="DAB720"/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gray">
          <a:xfrm>
            <a:off x="2973388" y="2664743"/>
            <a:ext cx="1470025" cy="1117600"/>
          </a:xfrm>
          <a:custGeom>
            <a:avLst/>
            <a:gdLst>
              <a:gd name="T0" fmla="*/ 2147483647 w 926"/>
              <a:gd name="T1" fmla="*/ 2147483647 h 704"/>
              <a:gd name="T2" fmla="*/ 2147483647 w 926"/>
              <a:gd name="T3" fmla="*/ 2147483647 h 704"/>
              <a:gd name="T4" fmla="*/ 0 w 926"/>
              <a:gd name="T5" fmla="*/ 2147483647 h 704"/>
              <a:gd name="T6" fmla="*/ 2147483647 w 926"/>
              <a:gd name="T7" fmla="*/ 0 h 704"/>
              <a:gd name="T8" fmla="*/ 2147483647 w 926"/>
              <a:gd name="T9" fmla="*/ 2147483647 h 7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26"/>
              <a:gd name="T16" fmla="*/ 0 h 704"/>
              <a:gd name="T17" fmla="*/ 926 w 926"/>
              <a:gd name="T18" fmla="*/ 704 h 70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26" h="704">
                <a:moveTo>
                  <a:pt x="926" y="611"/>
                </a:moveTo>
                <a:lnTo>
                  <a:pt x="844" y="704"/>
                </a:lnTo>
                <a:lnTo>
                  <a:pt x="0" y="489"/>
                </a:lnTo>
                <a:lnTo>
                  <a:pt x="315" y="0"/>
                </a:lnTo>
                <a:lnTo>
                  <a:pt x="926" y="611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A3C975"/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1209675" y="1378868"/>
            <a:ext cx="2257425" cy="2257425"/>
            <a:chOff x="867" y="738"/>
            <a:chExt cx="1422" cy="1422"/>
          </a:xfrm>
        </p:grpSpPr>
        <p:sp>
          <p:nvSpPr>
            <p:cNvPr id="8" name="Oval 7"/>
            <p:cNvSpPr>
              <a:spLocks noChangeArrowheads="1"/>
            </p:cNvSpPr>
            <p:nvPr/>
          </p:nvSpPr>
          <p:spPr bwMode="gray">
            <a:xfrm>
              <a:off x="867" y="738"/>
              <a:ext cx="1422" cy="1422"/>
            </a:xfrm>
            <a:prstGeom prst="ellipse">
              <a:avLst/>
            </a:prstGeom>
            <a:gradFill rotWithShape="1">
              <a:gsLst>
                <a:gs pos="0">
                  <a:srgbClr val="7C9959"/>
                </a:gs>
                <a:gs pos="100000">
                  <a:srgbClr val="A3C975"/>
                </a:gs>
              </a:gsLst>
              <a:lin ang="2700000" scaled="1"/>
            </a:gradFill>
            <a:ln w="38100" algn="ctr">
              <a:solidFill>
                <a:srgbClr val="DDDDD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9" name="Oval 8"/>
            <p:cNvSpPr>
              <a:spLocks noChangeArrowheads="1"/>
            </p:cNvSpPr>
            <p:nvPr/>
          </p:nvSpPr>
          <p:spPr bwMode="gray">
            <a:xfrm>
              <a:off x="909" y="774"/>
              <a:ext cx="1337" cy="1348"/>
            </a:xfrm>
            <a:prstGeom prst="ellipse">
              <a:avLst/>
            </a:prstGeom>
            <a:gradFill rotWithShape="1">
              <a:gsLst>
                <a:gs pos="0">
                  <a:srgbClr val="A3C975"/>
                </a:gs>
                <a:gs pos="100000">
                  <a:srgbClr val="7C9959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微软雅黑"/>
                <a:ea typeface="微软雅黑"/>
                <a:cs typeface="微软雅黑"/>
              </a:endParaRPr>
            </a:p>
          </p:txBody>
        </p:sp>
      </p:grp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1428729" y="2285992"/>
            <a:ext cx="1857388" cy="7284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0368" lvl="0" indent="-160728" defTabSz="685664">
              <a:spcAft>
                <a:spcPts val="450"/>
              </a:spcAft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智能机</a:t>
            </a:r>
            <a:r>
              <a:rPr lang="en-US" altLang="zh-CN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功能机</a:t>
            </a:r>
            <a:r>
              <a:rPr lang="en-US" altLang="zh-CN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山寨机</a:t>
            </a:r>
            <a:endParaRPr lang="en-US" altLang="zh-CN" sz="1100" kern="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80368" lvl="0" indent="-160728" defTabSz="685664">
              <a:spcAft>
                <a:spcPts val="450"/>
              </a:spcAft>
              <a:buFont typeface="Arial" pitchFamily="34" charset="0"/>
              <a:buChar char="•"/>
              <a:defRPr/>
            </a:pPr>
            <a:r>
              <a:rPr lang="en-US" altLang="zh-CN" sz="1100" kern="0" dirty="0" err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OS</a:t>
            </a:r>
            <a:r>
              <a:rPr lang="en-US" altLang="zh-CN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Android/WP</a:t>
            </a:r>
          </a:p>
          <a:p>
            <a:pPr marL="80368" lvl="0" indent="-160728" defTabSz="685664">
              <a:spcAft>
                <a:spcPts val="450"/>
              </a:spcAft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苹果的政策</a:t>
            </a:r>
            <a:endParaRPr lang="en-US" altLang="zh-CN" sz="1100" kern="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" name="Group 10"/>
          <p:cNvGrpSpPr>
            <a:grpSpLocks/>
          </p:cNvGrpSpPr>
          <p:nvPr/>
        </p:nvGrpSpPr>
        <p:grpSpPr bwMode="auto">
          <a:xfrm>
            <a:off x="5700713" y="1378868"/>
            <a:ext cx="2257425" cy="2257425"/>
            <a:chOff x="867" y="738"/>
            <a:chExt cx="1422" cy="1422"/>
          </a:xfrm>
        </p:grpSpPr>
        <p:sp>
          <p:nvSpPr>
            <p:cNvPr id="12" name="Oval 11"/>
            <p:cNvSpPr>
              <a:spLocks noChangeArrowheads="1"/>
            </p:cNvSpPr>
            <p:nvPr/>
          </p:nvSpPr>
          <p:spPr bwMode="gray">
            <a:xfrm>
              <a:off x="867" y="738"/>
              <a:ext cx="1422" cy="1422"/>
            </a:xfrm>
            <a:prstGeom prst="ellipse">
              <a:avLst/>
            </a:prstGeom>
            <a:gradFill rotWithShape="1">
              <a:gsLst>
                <a:gs pos="0">
                  <a:srgbClr val="A19D57"/>
                </a:gs>
                <a:gs pos="100000">
                  <a:srgbClr val="D3CE73"/>
                </a:gs>
              </a:gsLst>
              <a:lin ang="2700000" scaled="1"/>
            </a:gradFill>
            <a:ln w="38100" algn="ctr">
              <a:solidFill>
                <a:srgbClr val="DDDDD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13" name="Oval 12"/>
            <p:cNvSpPr>
              <a:spLocks noChangeArrowheads="1"/>
            </p:cNvSpPr>
            <p:nvPr/>
          </p:nvSpPr>
          <p:spPr bwMode="gray">
            <a:xfrm>
              <a:off x="909" y="774"/>
              <a:ext cx="1337" cy="1348"/>
            </a:xfrm>
            <a:prstGeom prst="ellipse">
              <a:avLst/>
            </a:prstGeom>
            <a:gradFill rotWithShape="1">
              <a:gsLst>
                <a:gs pos="0">
                  <a:srgbClr val="D3CE73"/>
                </a:gs>
                <a:gs pos="100000">
                  <a:srgbClr val="A19D57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微软雅黑"/>
                <a:ea typeface="微软雅黑"/>
                <a:cs typeface="微软雅黑"/>
              </a:endParaRPr>
            </a:p>
          </p:txBody>
        </p:sp>
      </p:grpSp>
      <p:sp>
        <p:nvSpPr>
          <p:cNvPr id="14" name="Rectangle 13"/>
          <p:cNvSpPr>
            <a:spLocks noChangeArrowheads="1"/>
          </p:cNvSpPr>
          <p:nvPr/>
        </p:nvSpPr>
        <p:spPr bwMode="gray">
          <a:xfrm>
            <a:off x="6126187" y="2334543"/>
            <a:ext cx="1589085" cy="7961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6439" lvl="0" indent="-96439" defTabSz="685664">
              <a:spcBef>
                <a:spcPct val="20000"/>
              </a:spcBef>
              <a:spcAft>
                <a:spcPts val="450"/>
              </a:spcAft>
              <a:buSzPct val="80000"/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手机浏览器混战</a:t>
            </a:r>
            <a:endParaRPr lang="en-US" altLang="zh-CN" sz="1100" kern="0" dirty="0" smtClean="0">
              <a:solidFill>
                <a:srgbClr val="FFFFFF">
                  <a:alpha val="99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marL="96439" lvl="0" indent="-96439" defTabSz="685664">
              <a:spcBef>
                <a:spcPct val="20000"/>
              </a:spcBef>
              <a:spcAft>
                <a:spcPts val="450"/>
              </a:spcAft>
              <a:buSzPct val="80000"/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浏览器和</a:t>
            </a:r>
            <a:r>
              <a:rPr lang="en-US" altLang="zh-CN" sz="1100" kern="0" dirty="0" err="1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Webview</a:t>
            </a:r>
            <a:endParaRPr lang="en-US" altLang="zh-CN" sz="1100" kern="0" dirty="0" smtClean="0">
              <a:solidFill>
                <a:srgbClr val="FFFFFF">
                  <a:alpha val="99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marL="96439" indent="-96439" defTabSz="685664">
              <a:spcBef>
                <a:spcPct val="20000"/>
              </a:spcBef>
              <a:spcAft>
                <a:spcPts val="450"/>
              </a:spcAft>
              <a:buSzPct val="80000"/>
              <a:buFont typeface="Arial" pitchFamily="34" charset="0"/>
              <a:buChar char="•"/>
              <a:defRPr/>
            </a:pPr>
            <a:r>
              <a:rPr lang="en-US" altLang="zh-CN" sz="1100" kern="0" dirty="0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cookie</a:t>
            </a:r>
            <a:r>
              <a:rPr lang="zh-CN" altLang="en-US" sz="1100" kern="0" dirty="0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和</a:t>
            </a:r>
            <a:r>
              <a:rPr lang="en-US" altLang="zh-CN" sz="1100" kern="0" dirty="0" err="1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js</a:t>
            </a:r>
            <a:r>
              <a:rPr lang="zh-CN" altLang="en-US" sz="1100" kern="0" dirty="0" smtClean="0">
                <a:solidFill>
                  <a:srgbClr val="FFFFFF">
                    <a:alpha val="99000"/>
                  </a:srgbClr>
                </a:solidFill>
                <a:latin typeface="微软雅黑" pitchFamily="34" charset="-122"/>
                <a:ea typeface="微软雅黑" pitchFamily="34" charset="-122"/>
              </a:rPr>
              <a:t>的支持</a:t>
            </a:r>
            <a:endParaRPr lang="en-US" sz="1100" kern="0" dirty="0" smtClean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1" name="Group 14"/>
          <p:cNvGrpSpPr>
            <a:grpSpLocks/>
          </p:cNvGrpSpPr>
          <p:nvPr/>
        </p:nvGrpSpPr>
        <p:grpSpPr bwMode="auto">
          <a:xfrm>
            <a:off x="3336925" y="4150643"/>
            <a:ext cx="2257425" cy="2257425"/>
            <a:chOff x="867" y="738"/>
            <a:chExt cx="1422" cy="1422"/>
          </a:xfrm>
        </p:grpSpPr>
        <p:sp>
          <p:nvSpPr>
            <p:cNvPr id="16" name="Oval 15"/>
            <p:cNvSpPr>
              <a:spLocks noChangeArrowheads="1"/>
            </p:cNvSpPr>
            <p:nvPr/>
          </p:nvSpPr>
          <p:spPr bwMode="gray">
            <a:xfrm>
              <a:off x="867" y="738"/>
              <a:ext cx="1422" cy="1422"/>
            </a:xfrm>
            <a:prstGeom prst="ellipse">
              <a:avLst/>
            </a:prstGeom>
            <a:gradFill rotWithShape="1">
              <a:gsLst>
                <a:gs pos="0">
                  <a:srgbClr val="7474C2"/>
                </a:gs>
                <a:gs pos="100000">
                  <a:srgbClr val="9999FF"/>
                </a:gs>
              </a:gsLst>
              <a:lin ang="2700000" scaled="1"/>
            </a:gradFill>
            <a:ln w="38100" algn="ctr">
              <a:solidFill>
                <a:srgbClr val="DDDDD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gray">
            <a:xfrm>
              <a:off x="909" y="774"/>
              <a:ext cx="1337" cy="1348"/>
            </a:xfrm>
            <a:prstGeom prst="ellipse">
              <a:avLst/>
            </a:prstGeom>
            <a:gradFill rotWithShape="1">
              <a:gsLst>
                <a:gs pos="0">
                  <a:srgbClr val="9999FF"/>
                </a:gs>
                <a:gs pos="100000">
                  <a:srgbClr val="7474C2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微软雅黑"/>
                <a:ea typeface="微软雅黑"/>
                <a:cs typeface="微软雅黑"/>
              </a:endParaRPr>
            </a:p>
          </p:txBody>
        </p:sp>
      </p:grpSp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3786183" y="5106318"/>
            <a:ext cx="1571636" cy="7961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6439" lvl="0" indent="-96439" defTabSz="685664">
              <a:spcBef>
                <a:spcPct val="20000"/>
              </a:spcBef>
              <a:spcAft>
                <a:spcPts val="450"/>
              </a:spcAft>
              <a:buSzPct val="80000"/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十倍以上的增速</a:t>
            </a:r>
            <a:endParaRPr lang="en-US" altLang="zh-CN" sz="1100" kern="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96439" lvl="0" indent="-96439" defTabSz="685664">
              <a:spcBef>
                <a:spcPct val="20000"/>
              </a:spcBef>
              <a:spcAft>
                <a:spcPts val="450"/>
              </a:spcAft>
              <a:buSzPct val="80000"/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日数据量百亿级</a:t>
            </a:r>
            <a:endParaRPr lang="en-US" altLang="zh-CN" sz="1100" kern="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96439" lvl="0" indent="-96439" defTabSz="685664">
              <a:spcBef>
                <a:spcPct val="20000"/>
              </a:spcBef>
              <a:spcAft>
                <a:spcPts val="450"/>
              </a:spcAft>
              <a:buSzPct val="80000"/>
              <a:buFont typeface="Arial" pitchFamily="34" charset="0"/>
              <a:buChar char="•"/>
              <a:defRPr/>
            </a:pPr>
            <a:r>
              <a:rPr lang="zh-CN" altLang="en-US" sz="11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活跃用户亿级</a:t>
            </a:r>
            <a:endParaRPr lang="en-US" sz="1100" kern="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Freeform 19"/>
          <p:cNvSpPr>
            <a:spLocks/>
          </p:cNvSpPr>
          <p:nvPr/>
        </p:nvSpPr>
        <p:spPr bwMode="gray">
          <a:xfrm>
            <a:off x="3448050" y="4215731"/>
            <a:ext cx="2024063" cy="785812"/>
          </a:xfrm>
          <a:custGeom>
            <a:avLst/>
            <a:gdLst>
              <a:gd name="T0" fmla="*/ 0 w 1291"/>
              <a:gd name="T1" fmla="*/ 2147483647 h 495"/>
              <a:gd name="T2" fmla="*/ 2147483647 w 1291"/>
              <a:gd name="T3" fmla="*/ 2147483647 h 495"/>
              <a:gd name="T4" fmla="*/ 2147483647 w 1291"/>
              <a:gd name="T5" fmla="*/ 2147483647 h 495"/>
              <a:gd name="T6" fmla="*/ 2147483647 w 1291"/>
              <a:gd name="T7" fmla="*/ 0 h 495"/>
              <a:gd name="T8" fmla="*/ 2147483647 w 1291"/>
              <a:gd name="T9" fmla="*/ 2147483647 h 495"/>
              <a:gd name="T10" fmla="*/ 0 w 1291"/>
              <a:gd name="T11" fmla="*/ 2147483647 h 49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91"/>
              <a:gd name="T19" fmla="*/ 0 h 495"/>
              <a:gd name="T20" fmla="*/ 1291 w 1291"/>
              <a:gd name="T21" fmla="*/ 495 h 49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91" h="495">
                <a:moveTo>
                  <a:pt x="0" y="495"/>
                </a:moveTo>
                <a:lnTo>
                  <a:pt x="1291" y="488"/>
                </a:lnTo>
                <a:cubicBezTo>
                  <a:pt x="1255" y="336"/>
                  <a:pt x="1163" y="231"/>
                  <a:pt x="1079" y="156"/>
                </a:cubicBezTo>
                <a:cubicBezTo>
                  <a:pt x="995" y="81"/>
                  <a:pt x="854" y="0"/>
                  <a:pt x="635" y="0"/>
                </a:cubicBezTo>
                <a:cubicBezTo>
                  <a:pt x="416" y="0"/>
                  <a:pt x="340" y="63"/>
                  <a:pt x="230" y="143"/>
                </a:cubicBezTo>
                <a:cubicBezTo>
                  <a:pt x="120" y="223"/>
                  <a:pt x="6" y="413"/>
                  <a:pt x="0" y="495"/>
                </a:cubicBezTo>
                <a:close/>
              </a:path>
            </a:pathLst>
          </a:custGeom>
          <a:solidFill>
            <a:srgbClr val="9999FF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black">
          <a:xfrm>
            <a:off x="3586163" y="4528468"/>
            <a:ext cx="1836737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rgbClr val="003300"/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sz="20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数据量</a:t>
            </a:r>
            <a:endParaRPr lang="en-US" altLang="zh-CN" sz="2000" b="1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gray">
          <a:xfrm>
            <a:off x="5810250" y="1434431"/>
            <a:ext cx="2033588" cy="781050"/>
          </a:xfrm>
          <a:custGeom>
            <a:avLst/>
            <a:gdLst>
              <a:gd name="T0" fmla="*/ 0 w 1293"/>
              <a:gd name="T1" fmla="*/ 2147483647 h 492"/>
              <a:gd name="T2" fmla="*/ 2147483647 w 1293"/>
              <a:gd name="T3" fmla="*/ 2147483647 h 492"/>
              <a:gd name="T4" fmla="*/ 2147483647 w 1293"/>
              <a:gd name="T5" fmla="*/ 2147483647 h 492"/>
              <a:gd name="T6" fmla="*/ 2147483647 w 1293"/>
              <a:gd name="T7" fmla="*/ 0 h 492"/>
              <a:gd name="T8" fmla="*/ 2147483647 w 1293"/>
              <a:gd name="T9" fmla="*/ 2147483647 h 492"/>
              <a:gd name="T10" fmla="*/ 0 w 1293"/>
              <a:gd name="T11" fmla="*/ 2147483647 h 49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93"/>
              <a:gd name="T19" fmla="*/ 0 h 492"/>
              <a:gd name="T20" fmla="*/ 1293 w 1293"/>
              <a:gd name="T21" fmla="*/ 492 h 49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93" h="492">
                <a:moveTo>
                  <a:pt x="0" y="490"/>
                </a:moveTo>
                <a:lnTo>
                  <a:pt x="1293" y="492"/>
                </a:lnTo>
                <a:cubicBezTo>
                  <a:pt x="1257" y="340"/>
                  <a:pt x="1165" y="235"/>
                  <a:pt x="1081" y="160"/>
                </a:cubicBezTo>
                <a:cubicBezTo>
                  <a:pt x="997" y="85"/>
                  <a:pt x="867" y="0"/>
                  <a:pt x="648" y="0"/>
                </a:cubicBezTo>
                <a:cubicBezTo>
                  <a:pt x="429" y="0"/>
                  <a:pt x="342" y="67"/>
                  <a:pt x="232" y="147"/>
                </a:cubicBezTo>
                <a:cubicBezTo>
                  <a:pt x="122" y="227"/>
                  <a:pt x="18" y="421"/>
                  <a:pt x="0" y="490"/>
                </a:cubicBezTo>
                <a:close/>
              </a:path>
            </a:pathLst>
          </a:custGeom>
          <a:solidFill>
            <a:srgbClr val="D3CE73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3" name="Freeform 22"/>
          <p:cNvSpPr>
            <a:spLocks/>
          </p:cNvSpPr>
          <p:nvPr/>
        </p:nvSpPr>
        <p:spPr bwMode="gray">
          <a:xfrm>
            <a:off x="1311275" y="1436018"/>
            <a:ext cx="2038350" cy="785813"/>
          </a:xfrm>
          <a:custGeom>
            <a:avLst/>
            <a:gdLst>
              <a:gd name="T0" fmla="*/ 0 w 1284"/>
              <a:gd name="T1" fmla="*/ 2147483647 h 495"/>
              <a:gd name="T2" fmla="*/ 2147483647 w 1284"/>
              <a:gd name="T3" fmla="*/ 2147483647 h 495"/>
              <a:gd name="T4" fmla="*/ 2147483647 w 1284"/>
              <a:gd name="T5" fmla="*/ 2147483647 h 495"/>
              <a:gd name="T6" fmla="*/ 2147483647 w 1284"/>
              <a:gd name="T7" fmla="*/ 0 h 495"/>
              <a:gd name="T8" fmla="*/ 2147483647 w 1284"/>
              <a:gd name="T9" fmla="*/ 2147483647 h 495"/>
              <a:gd name="T10" fmla="*/ 0 w 1284"/>
              <a:gd name="T11" fmla="*/ 2147483647 h 49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84"/>
              <a:gd name="T19" fmla="*/ 0 h 495"/>
              <a:gd name="T20" fmla="*/ 1284 w 1284"/>
              <a:gd name="T21" fmla="*/ 495 h 49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84" h="495">
                <a:moveTo>
                  <a:pt x="0" y="495"/>
                </a:moveTo>
                <a:lnTo>
                  <a:pt x="1284" y="492"/>
                </a:lnTo>
                <a:cubicBezTo>
                  <a:pt x="1248" y="340"/>
                  <a:pt x="1156" y="235"/>
                  <a:pt x="1072" y="160"/>
                </a:cubicBezTo>
                <a:cubicBezTo>
                  <a:pt x="988" y="85"/>
                  <a:pt x="858" y="0"/>
                  <a:pt x="639" y="0"/>
                </a:cubicBezTo>
                <a:cubicBezTo>
                  <a:pt x="420" y="0"/>
                  <a:pt x="333" y="67"/>
                  <a:pt x="223" y="147"/>
                </a:cubicBezTo>
                <a:cubicBezTo>
                  <a:pt x="113" y="227"/>
                  <a:pt x="18" y="426"/>
                  <a:pt x="0" y="495"/>
                </a:cubicBezTo>
                <a:close/>
              </a:path>
            </a:pathLst>
          </a:custGeom>
          <a:solidFill>
            <a:srgbClr val="A3C975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black">
          <a:xfrm>
            <a:off x="5921375" y="1747168"/>
            <a:ext cx="1836738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rgbClr val="003300"/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altLang="zh-CN" sz="2000" b="1" dirty="0" err="1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Wap</a:t>
            </a:r>
            <a:r>
              <a:rPr lang="en-US" altLang="zh-CN" sz="20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/H5</a:t>
            </a:r>
            <a:endParaRPr lang="en-US" altLang="zh-CN" sz="2000" b="1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black">
          <a:xfrm>
            <a:off x="1439863" y="1756693"/>
            <a:ext cx="1836737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rgbClr val="003300"/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sz="2000" b="1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</a:rPr>
              <a:t>客户端</a:t>
            </a:r>
            <a:endParaRPr lang="en-US" altLang="zh-CN" sz="2000" b="1" dirty="0">
              <a:solidFill>
                <a:srgbClr val="FFFF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gray">
          <a:xfrm>
            <a:off x="4192588" y="2110706"/>
            <a:ext cx="679450" cy="1857375"/>
          </a:xfrm>
          <a:custGeom>
            <a:avLst/>
            <a:gdLst/>
            <a:ahLst/>
            <a:cxnLst>
              <a:cxn ang="0">
                <a:pos x="166" y="611"/>
              </a:cxn>
              <a:cxn ang="0">
                <a:pos x="92" y="813"/>
              </a:cxn>
              <a:cxn ang="0">
                <a:pos x="112" y="1008"/>
              </a:cxn>
              <a:cxn ang="0">
                <a:pos x="104" y="1192"/>
              </a:cxn>
              <a:cxn ang="0">
                <a:pos x="124" y="1383"/>
              </a:cxn>
              <a:cxn ang="0">
                <a:pos x="104" y="1555"/>
              </a:cxn>
              <a:cxn ang="0">
                <a:pos x="88" y="1674"/>
              </a:cxn>
              <a:cxn ang="0">
                <a:pos x="10" y="1800"/>
              </a:cxn>
              <a:cxn ang="0">
                <a:pos x="64" y="1982"/>
              </a:cxn>
              <a:cxn ang="0">
                <a:pos x="173" y="2259"/>
              </a:cxn>
              <a:cxn ang="0">
                <a:pos x="301" y="2490"/>
              </a:cxn>
              <a:cxn ang="0">
                <a:pos x="391" y="2676"/>
              </a:cxn>
              <a:cxn ang="0">
                <a:pos x="346" y="2816"/>
              </a:cxn>
              <a:cxn ang="0">
                <a:pos x="260" y="2919"/>
              </a:cxn>
              <a:cxn ang="0">
                <a:pos x="367" y="2961"/>
              </a:cxn>
              <a:cxn ang="0">
                <a:pos x="298" y="3273"/>
              </a:cxn>
              <a:cxn ang="0">
                <a:pos x="361" y="3396"/>
              </a:cxn>
              <a:cxn ang="0">
                <a:pos x="515" y="3140"/>
              </a:cxn>
              <a:cxn ang="0">
                <a:pos x="631" y="2934"/>
              </a:cxn>
              <a:cxn ang="0">
                <a:pos x="667" y="2771"/>
              </a:cxn>
              <a:cxn ang="0">
                <a:pos x="679" y="2640"/>
              </a:cxn>
              <a:cxn ang="0">
                <a:pos x="703" y="2448"/>
              </a:cxn>
              <a:cxn ang="0">
                <a:pos x="733" y="2257"/>
              </a:cxn>
              <a:cxn ang="0">
                <a:pos x="796" y="2021"/>
              </a:cxn>
              <a:cxn ang="0">
                <a:pos x="757" y="1725"/>
              </a:cxn>
              <a:cxn ang="0">
                <a:pos x="740" y="1476"/>
              </a:cxn>
              <a:cxn ang="0">
                <a:pos x="787" y="1280"/>
              </a:cxn>
              <a:cxn ang="0">
                <a:pos x="842" y="1223"/>
              </a:cxn>
              <a:cxn ang="0">
                <a:pos x="1093" y="1083"/>
              </a:cxn>
              <a:cxn ang="0">
                <a:pos x="1241" y="902"/>
              </a:cxn>
              <a:cxn ang="0">
                <a:pos x="1201" y="720"/>
              </a:cxn>
              <a:cxn ang="0">
                <a:pos x="1055" y="569"/>
              </a:cxn>
              <a:cxn ang="0">
                <a:pos x="1081" y="345"/>
              </a:cxn>
              <a:cxn ang="0">
                <a:pos x="999" y="249"/>
              </a:cxn>
              <a:cxn ang="0">
                <a:pos x="927" y="515"/>
              </a:cxn>
              <a:cxn ang="0">
                <a:pos x="866" y="690"/>
              </a:cxn>
              <a:cxn ang="0">
                <a:pos x="832" y="699"/>
              </a:cxn>
              <a:cxn ang="0">
                <a:pos x="656" y="641"/>
              </a:cxn>
              <a:cxn ang="0">
                <a:pos x="533" y="545"/>
              </a:cxn>
              <a:cxn ang="0">
                <a:pos x="595" y="434"/>
              </a:cxn>
              <a:cxn ang="0">
                <a:pos x="592" y="374"/>
              </a:cxn>
              <a:cxn ang="0">
                <a:pos x="613" y="345"/>
              </a:cxn>
              <a:cxn ang="0">
                <a:pos x="599" y="270"/>
              </a:cxn>
              <a:cxn ang="0">
                <a:pos x="617" y="231"/>
              </a:cxn>
              <a:cxn ang="0">
                <a:pos x="575" y="146"/>
              </a:cxn>
              <a:cxn ang="0">
                <a:pos x="550" y="98"/>
              </a:cxn>
              <a:cxn ang="0">
                <a:pos x="416" y="11"/>
              </a:cxn>
              <a:cxn ang="0">
                <a:pos x="256" y="12"/>
              </a:cxn>
              <a:cxn ang="0">
                <a:pos x="134" y="75"/>
              </a:cxn>
              <a:cxn ang="0">
                <a:pos x="112" y="126"/>
              </a:cxn>
              <a:cxn ang="0">
                <a:pos x="85" y="200"/>
              </a:cxn>
              <a:cxn ang="0">
                <a:pos x="58" y="269"/>
              </a:cxn>
              <a:cxn ang="0">
                <a:pos x="85" y="318"/>
              </a:cxn>
            </a:cxnLst>
            <a:rect l="0" t="0" r="r" b="b"/>
            <a:pathLst>
              <a:path w="1243" h="3407">
                <a:moveTo>
                  <a:pt x="109" y="377"/>
                </a:moveTo>
                <a:lnTo>
                  <a:pt x="128" y="466"/>
                </a:lnTo>
                <a:cubicBezTo>
                  <a:pt x="137" y="505"/>
                  <a:pt x="151" y="571"/>
                  <a:pt x="166" y="611"/>
                </a:cubicBezTo>
                <a:cubicBezTo>
                  <a:pt x="181" y="651"/>
                  <a:pt x="222" y="678"/>
                  <a:pt x="217" y="704"/>
                </a:cubicBezTo>
                <a:lnTo>
                  <a:pt x="133" y="770"/>
                </a:lnTo>
                <a:cubicBezTo>
                  <a:pt x="112" y="788"/>
                  <a:pt x="98" y="794"/>
                  <a:pt x="92" y="813"/>
                </a:cubicBezTo>
                <a:cubicBezTo>
                  <a:pt x="85" y="829"/>
                  <a:pt x="95" y="865"/>
                  <a:pt x="95" y="884"/>
                </a:cubicBezTo>
                <a:cubicBezTo>
                  <a:pt x="95" y="903"/>
                  <a:pt x="88" y="905"/>
                  <a:pt x="91" y="926"/>
                </a:cubicBezTo>
                <a:lnTo>
                  <a:pt x="112" y="1008"/>
                </a:lnTo>
                <a:lnTo>
                  <a:pt x="128" y="1079"/>
                </a:lnTo>
                <a:lnTo>
                  <a:pt x="113" y="1112"/>
                </a:lnTo>
                <a:lnTo>
                  <a:pt x="104" y="1192"/>
                </a:lnTo>
                <a:lnTo>
                  <a:pt x="113" y="1274"/>
                </a:lnTo>
                <a:cubicBezTo>
                  <a:pt x="115" y="1297"/>
                  <a:pt x="111" y="1314"/>
                  <a:pt x="113" y="1332"/>
                </a:cubicBezTo>
                <a:cubicBezTo>
                  <a:pt x="115" y="1351"/>
                  <a:pt x="122" y="1366"/>
                  <a:pt x="124" y="1383"/>
                </a:cubicBezTo>
                <a:cubicBezTo>
                  <a:pt x="126" y="1400"/>
                  <a:pt x="125" y="1418"/>
                  <a:pt x="128" y="1434"/>
                </a:cubicBezTo>
                <a:cubicBezTo>
                  <a:pt x="123" y="1450"/>
                  <a:pt x="99" y="1467"/>
                  <a:pt x="95" y="1487"/>
                </a:cubicBezTo>
                <a:cubicBezTo>
                  <a:pt x="91" y="1507"/>
                  <a:pt x="103" y="1535"/>
                  <a:pt x="104" y="1555"/>
                </a:cubicBezTo>
                <a:lnTo>
                  <a:pt x="95" y="1595"/>
                </a:lnTo>
                <a:lnTo>
                  <a:pt x="85" y="1629"/>
                </a:lnTo>
                <a:lnTo>
                  <a:pt x="88" y="1674"/>
                </a:lnTo>
                <a:cubicBezTo>
                  <a:pt x="86" y="1687"/>
                  <a:pt x="74" y="1696"/>
                  <a:pt x="71" y="1707"/>
                </a:cubicBezTo>
                <a:cubicBezTo>
                  <a:pt x="68" y="1718"/>
                  <a:pt x="79" y="1728"/>
                  <a:pt x="68" y="1743"/>
                </a:cubicBezTo>
                <a:cubicBezTo>
                  <a:pt x="58" y="1758"/>
                  <a:pt x="18" y="1782"/>
                  <a:pt x="10" y="1800"/>
                </a:cubicBezTo>
                <a:cubicBezTo>
                  <a:pt x="0" y="1817"/>
                  <a:pt x="11" y="1822"/>
                  <a:pt x="19" y="1854"/>
                </a:cubicBezTo>
                <a:lnTo>
                  <a:pt x="28" y="1916"/>
                </a:lnTo>
                <a:lnTo>
                  <a:pt x="64" y="1982"/>
                </a:lnTo>
                <a:lnTo>
                  <a:pt x="71" y="2037"/>
                </a:lnTo>
                <a:lnTo>
                  <a:pt x="85" y="2090"/>
                </a:lnTo>
                <a:lnTo>
                  <a:pt x="173" y="2259"/>
                </a:lnTo>
                <a:lnTo>
                  <a:pt x="223" y="2352"/>
                </a:lnTo>
                <a:lnTo>
                  <a:pt x="249" y="2402"/>
                </a:lnTo>
                <a:lnTo>
                  <a:pt x="301" y="2490"/>
                </a:lnTo>
                <a:lnTo>
                  <a:pt x="335" y="2559"/>
                </a:lnTo>
                <a:lnTo>
                  <a:pt x="362" y="2615"/>
                </a:lnTo>
                <a:cubicBezTo>
                  <a:pt x="371" y="2634"/>
                  <a:pt x="385" y="2659"/>
                  <a:pt x="391" y="2676"/>
                </a:cubicBezTo>
                <a:cubicBezTo>
                  <a:pt x="397" y="2693"/>
                  <a:pt x="392" y="2702"/>
                  <a:pt x="401" y="2717"/>
                </a:cubicBezTo>
                <a:lnTo>
                  <a:pt x="443" y="2765"/>
                </a:lnTo>
                <a:lnTo>
                  <a:pt x="346" y="2816"/>
                </a:lnTo>
                <a:lnTo>
                  <a:pt x="262" y="2874"/>
                </a:lnTo>
                <a:cubicBezTo>
                  <a:pt x="248" y="2892"/>
                  <a:pt x="263" y="2915"/>
                  <a:pt x="263" y="2922"/>
                </a:cubicBezTo>
                <a:cubicBezTo>
                  <a:pt x="263" y="2929"/>
                  <a:pt x="254" y="2913"/>
                  <a:pt x="260" y="2919"/>
                </a:cubicBezTo>
                <a:cubicBezTo>
                  <a:pt x="266" y="2932"/>
                  <a:pt x="276" y="2956"/>
                  <a:pt x="298" y="2958"/>
                </a:cubicBezTo>
                <a:lnTo>
                  <a:pt x="386" y="2942"/>
                </a:lnTo>
                <a:lnTo>
                  <a:pt x="367" y="2961"/>
                </a:lnTo>
                <a:lnTo>
                  <a:pt x="341" y="3069"/>
                </a:lnTo>
                <a:lnTo>
                  <a:pt x="370" y="3103"/>
                </a:lnTo>
                <a:lnTo>
                  <a:pt x="298" y="3273"/>
                </a:lnTo>
                <a:lnTo>
                  <a:pt x="268" y="3344"/>
                </a:lnTo>
                <a:cubicBezTo>
                  <a:pt x="266" y="3363"/>
                  <a:pt x="269" y="3380"/>
                  <a:pt x="284" y="3389"/>
                </a:cubicBezTo>
                <a:cubicBezTo>
                  <a:pt x="296" y="3397"/>
                  <a:pt x="335" y="3407"/>
                  <a:pt x="361" y="3396"/>
                </a:cubicBezTo>
                <a:lnTo>
                  <a:pt x="443" y="3321"/>
                </a:lnTo>
                <a:lnTo>
                  <a:pt x="491" y="3249"/>
                </a:lnTo>
                <a:lnTo>
                  <a:pt x="515" y="3140"/>
                </a:lnTo>
                <a:lnTo>
                  <a:pt x="564" y="3103"/>
                </a:lnTo>
                <a:lnTo>
                  <a:pt x="588" y="3055"/>
                </a:lnTo>
                <a:lnTo>
                  <a:pt x="631" y="2934"/>
                </a:lnTo>
                <a:lnTo>
                  <a:pt x="647" y="2831"/>
                </a:lnTo>
                <a:lnTo>
                  <a:pt x="668" y="2811"/>
                </a:lnTo>
                <a:cubicBezTo>
                  <a:pt x="671" y="2801"/>
                  <a:pt x="665" y="2789"/>
                  <a:pt x="667" y="2771"/>
                </a:cubicBezTo>
                <a:cubicBezTo>
                  <a:pt x="669" y="2753"/>
                  <a:pt x="679" y="2716"/>
                  <a:pt x="680" y="2702"/>
                </a:cubicBezTo>
                <a:cubicBezTo>
                  <a:pt x="678" y="2685"/>
                  <a:pt x="670" y="2695"/>
                  <a:pt x="670" y="2685"/>
                </a:cubicBezTo>
                <a:lnTo>
                  <a:pt x="679" y="2640"/>
                </a:lnTo>
                <a:lnTo>
                  <a:pt x="676" y="2589"/>
                </a:lnTo>
                <a:lnTo>
                  <a:pt x="685" y="2499"/>
                </a:lnTo>
                <a:lnTo>
                  <a:pt x="703" y="2448"/>
                </a:lnTo>
                <a:lnTo>
                  <a:pt x="712" y="2400"/>
                </a:lnTo>
                <a:lnTo>
                  <a:pt x="718" y="2331"/>
                </a:lnTo>
                <a:lnTo>
                  <a:pt x="733" y="2257"/>
                </a:lnTo>
                <a:lnTo>
                  <a:pt x="760" y="2133"/>
                </a:lnTo>
                <a:cubicBezTo>
                  <a:pt x="771" y="2106"/>
                  <a:pt x="793" y="2115"/>
                  <a:pt x="799" y="2096"/>
                </a:cubicBezTo>
                <a:cubicBezTo>
                  <a:pt x="805" y="2077"/>
                  <a:pt x="802" y="2051"/>
                  <a:pt x="796" y="2021"/>
                </a:cubicBezTo>
                <a:lnTo>
                  <a:pt x="764" y="1916"/>
                </a:lnTo>
                <a:lnTo>
                  <a:pt x="769" y="1788"/>
                </a:lnTo>
                <a:lnTo>
                  <a:pt x="757" y="1725"/>
                </a:lnTo>
                <a:lnTo>
                  <a:pt x="758" y="1676"/>
                </a:lnTo>
                <a:lnTo>
                  <a:pt x="745" y="1625"/>
                </a:lnTo>
                <a:lnTo>
                  <a:pt x="740" y="1476"/>
                </a:lnTo>
                <a:lnTo>
                  <a:pt x="757" y="1418"/>
                </a:lnTo>
                <a:lnTo>
                  <a:pt x="767" y="1338"/>
                </a:lnTo>
                <a:lnTo>
                  <a:pt x="787" y="1280"/>
                </a:lnTo>
                <a:lnTo>
                  <a:pt x="797" y="1223"/>
                </a:lnTo>
                <a:lnTo>
                  <a:pt x="806" y="1218"/>
                </a:lnTo>
                <a:lnTo>
                  <a:pt x="842" y="1223"/>
                </a:lnTo>
                <a:lnTo>
                  <a:pt x="997" y="1176"/>
                </a:lnTo>
                <a:lnTo>
                  <a:pt x="1070" y="1137"/>
                </a:lnTo>
                <a:lnTo>
                  <a:pt x="1093" y="1083"/>
                </a:lnTo>
                <a:cubicBezTo>
                  <a:pt x="1116" y="1063"/>
                  <a:pt x="1187" y="1039"/>
                  <a:pt x="1207" y="1017"/>
                </a:cubicBezTo>
                <a:cubicBezTo>
                  <a:pt x="1226" y="993"/>
                  <a:pt x="1204" y="970"/>
                  <a:pt x="1210" y="951"/>
                </a:cubicBezTo>
                <a:cubicBezTo>
                  <a:pt x="1216" y="932"/>
                  <a:pt x="1238" y="919"/>
                  <a:pt x="1241" y="902"/>
                </a:cubicBezTo>
                <a:cubicBezTo>
                  <a:pt x="1243" y="881"/>
                  <a:pt x="1230" y="867"/>
                  <a:pt x="1229" y="848"/>
                </a:cubicBezTo>
                <a:cubicBezTo>
                  <a:pt x="1228" y="829"/>
                  <a:pt x="1242" y="810"/>
                  <a:pt x="1237" y="789"/>
                </a:cubicBezTo>
                <a:cubicBezTo>
                  <a:pt x="1234" y="763"/>
                  <a:pt x="1208" y="745"/>
                  <a:pt x="1201" y="720"/>
                </a:cubicBezTo>
                <a:cubicBezTo>
                  <a:pt x="1195" y="689"/>
                  <a:pt x="1208" y="660"/>
                  <a:pt x="1195" y="641"/>
                </a:cubicBezTo>
                <a:cubicBezTo>
                  <a:pt x="1179" y="620"/>
                  <a:pt x="1144" y="620"/>
                  <a:pt x="1121" y="608"/>
                </a:cubicBezTo>
                <a:cubicBezTo>
                  <a:pt x="1098" y="596"/>
                  <a:pt x="1069" y="583"/>
                  <a:pt x="1055" y="569"/>
                </a:cubicBezTo>
                <a:cubicBezTo>
                  <a:pt x="1037" y="556"/>
                  <a:pt x="1038" y="541"/>
                  <a:pt x="1037" y="522"/>
                </a:cubicBezTo>
                <a:cubicBezTo>
                  <a:pt x="1036" y="503"/>
                  <a:pt x="1044" y="481"/>
                  <a:pt x="1051" y="452"/>
                </a:cubicBezTo>
                <a:cubicBezTo>
                  <a:pt x="1058" y="423"/>
                  <a:pt x="1076" y="374"/>
                  <a:pt x="1081" y="345"/>
                </a:cubicBezTo>
                <a:cubicBezTo>
                  <a:pt x="1088" y="304"/>
                  <a:pt x="1087" y="297"/>
                  <a:pt x="1082" y="281"/>
                </a:cubicBezTo>
                <a:cubicBezTo>
                  <a:pt x="1077" y="265"/>
                  <a:pt x="1066" y="251"/>
                  <a:pt x="1052" y="246"/>
                </a:cubicBezTo>
                <a:cubicBezTo>
                  <a:pt x="1040" y="242"/>
                  <a:pt x="1016" y="232"/>
                  <a:pt x="999" y="249"/>
                </a:cubicBezTo>
                <a:cubicBezTo>
                  <a:pt x="983" y="265"/>
                  <a:pt x="963" y="309"/>
                  <a:pt x="953" y="344"/>
                </a:cubicBezTo>
                <a:cubicBezTo>
                  <a:pt x="945" y="376"/>
                  <a:pt x="945" y="434"/>
                  <a:pt x="941" y="462"/>
                </a:cubicBezTo>
                <a:lnTo>
                  <a:pt x="927" y="515"/>
                </a:lnTo>
                <a:lnTo>
                  <a:pt x="907" y="545"/>
                </a:lnTo>
                <a:lnTo>
                  <a:pt x="883" y="626"/>
                </a:lnTo>
                <a:lnTo>
                  <a:pt x="866" y="690"/>
                </a:lnTo>
                <a:lnTo>
                  <a:pt x="869" y="780"/>
                </a:lnTo>
                <a:lnTo>
                  <a:pt x="860" y="782"/>
                </a:lnTo>
                <a:lnTo>
                  <a:pt x="832" y="699"/>
                </a:lnTo>
                <a:lnTo>
                  <a:pt x="794" y="659"/>
                </a:lnTo>
                <a:cubicBezTo>
                  <a:pt x="777" y="648"/>
                  <a:pt x="750" y="636"/>
                  <a:pt x="727" y="633"/>
                </a:cubicBezTo>
                <a:cubicBezTo>
                  <a:pt x="706" y="630"/>
                  <a:pt x="677" y="642"/>
                  <a:pt x="656" y="641"/>
                </a:cubicBezTo>
                <a:cubicBezTo>
                  <a:pt x="634" y="640"/>
                  <a:pt x="610" y="632"/>
                  <a:pt x="602" y="627"/>
                </a:cubicBezTo>
                <a:lnTo>
                  <a:pt x="605" y="609"/>
                </a:lnTo>
                <a:lnTo>
                  <a:pt x="533" y="545"/>
                </a:lnTo>
                <a:cubicBezTo>
                  <a:pt x="524" y="530"/>
                  <a:pt x="544" y="530"/>
                  <a:pt x="550" y="521"/>
                </a:cubicBezTo>
                <a:cubicBezTo>
                  <a:pt x="556" y="512"/>
                  <a:pt x="565" y="503"/>
                  <a:pt x="572" y="489"/>
                </a:cubicBezTo>
                <a:cubicBezTo>
                  <a:pt x="582" y="469"/>
                  <a:pt x="591" y="455"/>
                  <a:pt x="595" y="434"/>
                </a:cubicBezTo>
                <a:cubicBezTo>
                  <a:pt x="597" y="419"/>
                  <a:pt x="596" y="402"/>
                  <a:pt x="593" y="399"/>
                </a:cubicBezTo>
                <a:cubicBezTo>
                  <a:pt x="590" y="396"/>
                  <a:pt x="578" y="393"/>
                  <a:pt x="578" y="389"/>
                </a:cubicBezTo>
                <a:cubicBezTo>
                  <a:pt x="578" y="385"/>
                  <a:pt x="588" y="378"/>
                  <a:pt x="592" y="374"/>
                </a:cubicBezTo>
                <a:lnTo>
                  <a:pt x="604" y="365"/>
                </a:lnTo>
                <a:lnTo>
                  <a:pt x="599" y="342"/>
                </a:lnTo>
                <a:lnTo>
                  <a:pt x="613" y="345"/>
                </a:lnTo>
                <a:lnTo>
                  <a:pt x="602" y="306"/>
                </a:lnTo>
                <a:cubicBezTo>
                  <a:pt x="603" y="298"/>
                  <a:pt x="617" y="300"/>
                  <a:pt x="617" y="294"/>
                </a:cubicBezTo>
                <a:cubicBezTo>
                  <a:pt x="618" y="290"/>
                  <a:pt x="600" y="277"/>
                  <a:pt x="599" y="270"/>
                </a:cubicBezTo>
                <a:lnTo>
                  <a:pt x="622" y="261"/>
                </a:lnTo>
                <a:cubicBezTo>
                  <a:pt x="621" y="252"/>
                  <a:pt x="594" y="221"/>
                  <a:pt x="593" y="216"/>
                </a:cubicBezTo>
                <a:cubicBezTo>
                  <a:pt x="594" y="211"/>
                  <a:pt x="623" y="249"/>
                  <a:pt x="617" y="231"/>
                </a:cubicBezTo>
                <a:cubicBezTo>
                  <a:pt x="611" y="213"/>
                  <a:pt x="599" y="197"/>
                  <a:pt x="595" y="189"/>
                </a:cubicBezTo>
                <a:cubicBezTo>
                  <a:pt x="591" y="182"/>
                  <a:pt x="575" y="164"/>
                  <a:pt x="604" y="177"/>
                </a:cubicBezTo>
                <a:cubicBezTo>
                  <a:pt x="633" y="190"/>
                  <a:pt x="581" y="155"/>
                  <a:pt x="575" y="146"/>
                </a:cubicBezTo>
                <a:cubicBezTo>
                  <a:pt x="569" y="137"/>
                  <a:pt x="565" y="127"/>
                  <a:pt x="566" y="122"/>
                </a:cubicBezTo>
                <a:cubicBezTo>
                  <a:pt x="567" y="117"/>
                  <a:pt x="584" y="121"/>
                  <a:pt x="581" y="117"/>
                </a:cubicBezTo>
                <a:cubicBezTo>
                  <a:pt x="578" y="113"/>
                  <a:pt x="560" y="107"/>
                  <a:pt x="550" y="98"/>
                </a:cubicBezTo>
                <a:cubicBezTo>
                  <a:pt x="540" y="89"/>
                  <a:pt x="537" y="74"/>
                  <a:pt x="523" y="63"/>
                </a:cubicBezTo>
                <a:cubicBezTo>
                  <a:pt x="507" y="48"/>
                  <a:pt x="485" y="40"/>
                  <a:pt x="467" y="31"/>
                </a:cubicBezTo>
                <a:cubicBezTo>
                  <a:pt x="449" y="22"/>
                  <a:pt x="434" y="16"/>
                  <a:pt x="416" y="11"/>
                </a:cubicBezTo>
                <a:cubicBezTo>
                  <a:pt x="398" y="6"/>
                  <a:pt x="378" y="0"/>
                  <a:pt x="359" y="2"/>
                </a:cubicBezTo>
                <a:cubicBezTo>
                  <a:pt x="339" y="5"/>
                  <a:pt x="321" y="19"/>
                  <a:pt x="304" y="21"/>
                </a:cubicBezTo>
                <a:cubicBezTo>
                  <a:pt x="287" y="23"/>
                  <a:pt x="275" y="8"/>
                  <a:pt x="256" y="12"/>
                </a:cubicBezTo>
                <a:cubicBezTo>
                  <a:pt x="239" y="15"/>
                  <a:pt x="208" y="31"/>
                  <a:pt x="190" y="44"/>
                </a:cubicBezTo>
                <a:lnTo>
                  <a:pt x="136" y="87"/>
                </a:lnTo>
                <a:cubicBezTo>
                  <a:pt x="127" y="92"/>
                  <a:pt x="137" y="72"/>
                  <a:pt x="134" y="75"/>
                </a:cubicBezTo>
                <a:cubicBezTo>
                  <a:pt x="132" y="77"/>
                  <a:pt x="125" y="96"/>
                  <a:pt x="121" y="104"/>
                </a:cubicBezTo>
                <a:cubicBezTo>
                  <a:pt x="118" y="105"/>
                  <a:pt x="117" y="80"/>
                  <a:pt x="115" y="84"/>
                </a:cubicBezTo>
                <a:cubicBezTo>
                  <a:pt x="113" y="88"/>
                  <a:pt x="115" y="111"/>
                  <a:pt x="112" y="126"/>
                </a:cubicBezTo>
                <a:cubicBezTo>
                  <a:pt x="109" y="141"/>
                  <a:pt x="100" y="170"/>
                  <a:pt x="94" y="174"/>
                </a:cubicBezTo>
                <a:cubicBezTo>
                  <a:pt x="90" y="187"/>
                  <a:pt x="72" y="133"/>
                  <a:pt x="77" y="152"/>
                </a:cubicBezTo>
                <a:cubicBezTo>
                  <a:pt x="82" y="171"/>
                  <a:pt x="86" y="196"/>
                  <a:pt x="85" y="200"/>
                </a:cubicBezTo>
                <a:cubicBezTo>
                  <a:pt x="84" y="204"/>
                  <a:pt x="73" y="170"/>
                  <a:pt x="70" y="176"/>
                </a:cubicBezTo>
                <a:cubicBezTo>
                  <a:pt x="87" y="212"/>
                  <a:pt x="67" y="215"/>
                  <a:pt x="68" y="237"/>
                </a:cubicBezTo>
                <a:cubicBezTo>
                  <a:pt x="66" y="252"/>
                  <a:pt x="77" y="263"/>
                  <a:pt x="58" y="269"/>
                </a:cubicBezTo>
                <a:cubicBezTo>
                  <a:pt x="39" y="275"/>
                  <a:pt x="77" y="275"/>
                  <a:pt x="77" y="279"/>
                </a:cubicBezTo>
                <a:cubicBezTo>
                  <a:pt x="77" y="283"/>
                  <a:pt x="74" y="297"/>
                  <a:pt x="58" y="294"/>
                </a:cubicBezTo>
                <a:cubicBezTo>
                  <a:pt x="42" y="291"/>
                  <a:pt x="80" y="310"/>
                  <a:pt x="85" y="318"/>
                </a:cubicBezTo>
                <a:cubicBezTo>
                  <a:pt x="90" y="326"/>
                  <a:pt x="85" y="334"/>
                  <a:pt x="89" y="344"/>
                </a:cubicBezTo>
                <a:lnTo>
                  <a:pt x="109" y="37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7" name="Rectangle 187"/>
          <p:cNvSpPr>
            <a:spLocks noChangeArrowheads="1"/>
          </p:cNvSpPr>
          <p:nvPr/>
        </p:nvSpPr>
        <p:spPr bwMode="auto">
          <a:xfrm>
            <a:off x="3551611" y="1457254"/>
            <a:ext cx="216339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rgbClr val="17347D"/>
                </a:solidFill>
                <a:latin typeface="微软雅黑"/>
                <a:ea typeface="微软雅黑"/>
                <a:cs typeface="微软雅黑"/>
              </a:rPr>
              <a:t>无线数据挑战</a:t>
            </a:r>
            <a:endParaRPr lang="en-US" altLang="zh-CN" sz="2000" dirty="0" smtClean="0">
              <a:solidFill>
                <a:srgbClr val="17347D"/>
              </a:solidFill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2764805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58</TotalTime>
  <Words>531</Words>
  <Application>Microsoft Macintosh PowerPoint</Application>
  <PresentationFormat>全屏显示(4:3)</PresentationFormat>
  <Paragraphs>125</Paragraphs>
  <Slides>22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3" baseType="lpstr"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向松(darcy)</dc:creator>
  <cp:lastModifiedBy>心 宗</cp:lastModifiedBy>
  <cp:revision>535</cp:revision>
  <dcterms:created xsi:type="dcterms:W3CDTF">2012-02-22T03:59:36Z</dcterms:created>
  <dcterms:modified xsi:type="dcterms:W3CDTF">2013-04-20T03:38:41Z</dcterms:modified>
</cp:coreProperties>
</file>